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9"/>
  </p:notesMasterIdLst>
  <p:sldIdLst>
    <p:sldId id="269" r:id="rId5"/>
    <p:sldId id="272" r:id="rId6"/>
    <p:sldId id="271" r:id="rId7"/>
    <p:sldId id="268" r:id="rId8"/>
  </p:sldIdLst>
  <p:sldSz cx="12801600" cy="9601200" type="A3"/>
  <p:notesSz cx="10163175" cy="14590713"/>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75" d="100"/>
          <a:sy n="75" d="100"/>
        </p:scale>
        <p:origin x="1284" y="66"/>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ose, Shiro" userId="f20e18a8-7af5-4f6d-9d3b-64a621699742" providerId="ADAL" clId="{2A9450C5-CA9A-4520-818F-3C925BD98F59}"/>
    <pc:docChg chg="undo custSel modSld">
      <pc:chgData name="Hirose, Shiro" userId="f20e18a8-7af5-4f6d-9d3b-64a621699742" providerId="ADAL" clId="{2A9450C5-CA9A-4520-818F-3C925BD98F59}" dt="2022-05-10T00:56:29.364" v="649" actId="20577"/>
      <pc:docMkLst>
        <pc:docMk/>
      </pc:docMkLst>
      <pc:sldChg chg="modSp mod">
        <pc:chgData name="Hirose, Shiro" userId="f20e18a8-7af5-4f6d-9d3b-64a621699742" providerId="ADAL" clId="{2A9450C5-CA9A-4520-818F-3C925BD98F59}" dt="2022-04-28T07:24:00.542" v="1" actId="20577"/>
        <pc:sldMkLst>
          <pc:docMk/>
          <pc:sldMk cId="3674044685" sldId="266"/>
        </pc:sldMkLst>
        <pc:spChg chg="mod">
          <ac:chgData name="Hirose, Shiro" userId="f20e18a8-7af5-4f6d-9d3b-64a621699742" providerId="ADAL" clId="{2A9450C5-CA9A-4520-818F-3C925BD98F59}" dt="2022-04-28T07:24:00.542" v="1" actId="20577"/>
          <ac:spMkLst>
            <pc:docMk/>
            <pc:sldMk cId="3674044685" sldId="266"/>
            <ac:spMk id="7" creationId="{00000000-0000-0000-0000-000000000000}"/>
          </ac:spMkLst>
        </pc:spChg>
      </pc:sldChg>
      <pc:sldChg chg="addSp delSp modSp mod">
        <pc:chgData name="Hirose, Shiro" userId="f20e18a8-7af5-4f6d-9d3b-64a621699742" providerId="ADAL" clId="{2A9450C5-CA9A-4520-818F-3C925BD98F59}" dt="2022-04-28T07:44:05.047" v="457" actId="14100"/>
        <pc:sldMkLst>
          <pc:docMk/>
          <pc:sldMk cId="1977472086" sldId="267"/>
        </pc:sldMkLst>
        <pc:spChg chg="mod">
          <ac:chgData name="Hirose, Shiro" userId="f20e18a8-7af5-4f6d-9d3b-64a621699742" providerId="ADAL" clId="{2A9450C5-CA9A-4520-818F-3C925BD98F59}" dt="2022-04-28T07:42:31.044" v="320" actId="1035"/>
          <ac:spMkLst>
            <pc:docMk/>
            <pc:sldMk cId="1977472086" sldId="267"/>
            <ac:spMk id="10" creationId="{DEE63563-584E-4DCA-B7C6-01745DE4917A}"/>
          </ac:spMkLst>
        </pc:spChg>
        <pc:spChg chg="mod">
          <ac:chgData name="Hirose, Shiro" userId="f20e18a8-7af5-4f6d-9d3b-64a621699742" providerId="ADAL" clId="{2A9450C5-CA9A-4520-818F-3C925BD98F59}" dt="2022-04-28T07:42:51.513" v="355"/>
          <ac:spMkLst>
            <pc:docMk/>
            <pc:sldMk cId="1977472086" sldId="267"/>
            <ac:spMk id="11" creationId="{DC3E25D4-F8A1-4CE2-8A45-3E2AA9FA3DA6}"/>
          </ac:spMkLst>
        </pc:spChg>
        <pc:spChg chg="del">
          <ac:chgData name="Hirose, Shiro" userId="f20e18a8-7af5-4f6d-9d3b-64a621699742" providerId="ADAL" clId="{2A9450C5-CA9A-4520-818F-3C925BD98F59}" dt="2022-04-28T07:31:28.955" v="65" actId="478"/>
          <ac:spMkLst>
            <pc:docMk/>
            <pc:sldMk cId="1977472086" sldId="267"/>
            <ac:spMk id="15" creationId="{3609507A-9A40-4201-A74E-D557AF23FBF1}"/>
          </ac:spMkLst>
        </pc:spChg>
        <pc:spChg chg="del">
          <ac:chgData name="Hirose, Shiro" userId="f20e18a8-7af5-4f6d-9d3b-64a621699742" providerId="ADAL" clId="{2A9450C5-CA9A-4520-818F-3C925BD98F59}" dt="2022-04-28T07:31:29.847" v="66" actId="478"/>
          <ac:spMkLst>
            <pc:docMk/>
            <pc:sldMk cId="1977472086" sldId="267"/>
            <ac:spMk id="16" creationId="{1DEABB0A-DBCD-47AB-95F5-E509CDEA6327}"/>
          </ac:spMkLst>
        </pc:spChg>
        <pc:spChg chg="mod">
          <ac:chgData name="Hirose, Shiro" userId="f20e18a8-7af5-4f6d-9d3b-64a621699742" providerId="ADAL" clId="{2A9450C5-CA9A-4520-818F-3C925BD98F59}" dt="2022-04-28T07:42:39.700" v="353" actId="1035"/>
          <ac:spMkLst>
            <pc:docMk/>
            <pc:sldMk cId="1977472086" sldId="267"/>
            <ac:spMk id="50" creationId="{13978B6A-8FD5-4818-ABED-D023FE3A7410}"/>
          </ac:spMkLst>
        </pc:spChg>
        <pc:spChg chg="add mod">
          <ac:chgData name="Hirose, Shiro" userId="f20e18a8-7af5-4f6d-9d3b-64a621699742" providerId="ADAL" clId="{2A9450C5-CA9A-4520-818F-3C925BD98F59}" dt="2022-04-28T07:43:55.192" v="454" actId="14100"/>
          <ac:spMkLst>
            <pc:docMk/>
            <pc:sldMk cId="1977472086" sldId="267"/>
            <ac:spMk id="57" creationId="{B82CD44C-CFE1-4E35-AFFE-DCC77C43B5BE}"/>
          </ac:spMkLst>
        </pc:spChg>
        <pc:spChg chg="mod">
          <ac:chgData name="Hirose, Shiro" userId="f20e18a8-7af5-4f6d-9d3b-64a621699742" providerId="ADAL" clId="{2A9450C5-CA9A-4520-818F-3C925BD98F59}" dt="2022-04-28T07:43:57.487" v="455" actId="14100"/>
          <ac:spMkLst>
            <pc:docMk/>
            <pc:sldMk cId="1977472086" sldId="267"/>
            <ac:spMk id="58" creationId="{156267D2-3367-44BA-9E6F-F9B125D77F35}"/>
          </ac:spMkLst>
        </pc:spChg>
        <pc:spChg chg="mod">
          <ac:chgData name="Hirose, Shiro" userId="f20e18a8-7af5-4f6d-9d3b-64a621699742" providerId="ADAL" clId="{2A9450C5-CA9A-4520-818F-3C925BD98F59}" dt="2022-04-28T07:44:03.169" v="456" actId="164"/>
          <ac:spMkLst>
            <pc:docMk/>
            <pc:sldMk cId="1977472086" sldId="267"/>
            <ac:spMk id="60" creationId="{4CDDCD4A-6ACB-44C4-85EF-E6FB3210F951}"/>
          </ac:spMkLst>
        </pc:spChg>
        <pc:spChg chg="del">
          <ac:chgData name="Hirose, Shiro" userId="f20e18a8-7af5-4f6d-9d3b-64a621699742" providerId="ADAL" clId="{2A9450C5-CA9A-4520-818F-3C925BD98F59}" dt="2022-04-28T07:31:24.939" v="64" actId="478"/>
          <ac:spMkLst>
            <pc:docMk/>
            <pc:sldMk cId="1977472086" sldId="267"/>
            <ac:spMk id="68" creationId="{43112D9D-85CF-45E8-931B-218710CAB3C7}"/>
          </ac:spMkLst>
        </pc:spChg>
        <pc:spChg chg="add del mod">
          <ac:chgData name="Hirose, Shiro" userId="f20e18a8-7af5-4f6d-9d3b-64a621699742" providerId="ADAL" clId="{2A9450C5-CA9A-4520-818F-3C925BD98F59}" dt="2022-04-28T07:44:03.169" v="456" actId="164"/>
          <ac:spMkLst>
            <pc:docMk/>
            <pc:sldMk cId="1977472086" sldId="267"/>
            <ac:spMk id="90" creationId="{FDF2E41B-47C3-4792-AD82-63FB5A58A0B8}"/>
          </ac:spMkLst>
        </pc:spChg>
        <pc:spChg chg="add del mod">
          <ac:chgData name="Hirose, Shiro" userId="f20e18a8-7af5-4f6d-9d3b-64a621699742" providerId="ADAL" clId="{2A9450C5-CA9A-4520-818F-3C925BD98F59}" dt="2022-04-28T07:44:03.169" v="456" actId="164"/>
          <ac:spMkLst>
            <pc:docMk/>
            <pc:sldMk cId="1977472086" sldId="267"/>
            <ac:spMk id="91" creationId="{2ED2AFAB-DA5F-4BB4-83C5-668DCC300286}"/>
          </ac:spMkLst>
        </pc:spChg>
        <pc:spChg chg="add del mod">
          <ac:chgData name="Hirose, Shiro" userId="f20e18a8-7af5-4f6d-9d3b-64a621699742" providerId="ADAL" clId="{2A9450C5-CA9A-4520-818F-3C925BD98F59}" dt="2022-04-28T07:44:03.169" v="456" actId="164"/>
          <ac:spMkLst>
            <pc:docMk/>
            <pc:sldMk cId="1977472086" sldId="267"/>
            <ac:spMk id="92" creationId="{F3447DF4-92AA-4B91-8D8C-88F3D8BEBE44}"/>
          </ac:spMkLst>
        </pc:spChg>
        <pc:spChg chg="del mod">
          <ac:chgData name="Hirose, Shiro" userId="f20e18a8-7af5-4f6d-9d3b-64a621699742" providerId="ADAL" clId="{2A9450C5-CA9A-4520-818F-3C925BD98F59}" dt="2022-04-28T07:43:14.998" v="399" actId="478"/>
          <ac:spMkLst>
            <pc:docMk/>
            <pc:sldMk cId="1977472086" sldId="267"/>
            <ac:spMk id="93" creationId="{0081EC0F-61BD-4E46-B485-3FC801B277DF}"/>
          </ac:spMkLst>
        </pc:spChg>
        <pc:spChg chg="del mod">
          <ac:chgData name="Hirose, Shiro" userId="f20e18a8-7af5-4f6d-9d3b-64a621699742" providerId="ADAL" clId="{2A9450C5-CA9A-4520-818F-3C925BD98F59}" dt="2022-04-28T07:43:14.998" v="399" actId="478"/>
          <ac:spMkLst>
            <pc:docMk/>
            <pc:sldMk cId="1977472086" sldId="267"/>
            <ac:spMk id="94" creationId="{74FDEAD6-3A0F-496D-9E92-BC1773618065}"/>
          </ac:spMkLst>
        </pc:spChg>
        <pc:grpChg chg="del">
          <ac:chgData name="Hirose, Shiro" userId="f20e18a8-7af5-4f6d-9d3b-64a621699742" providerId="ADAL" clId="{2A9450C5-CA9A-4520-818F-3C925BD98F59}" dt="2022-04-28T07:31:24.939" v="64" actId="478"/>
          <ac:grpSpMkLst>
            <pc:docMk/>
            <pc:sldMk cId="1977472086" sldId="267"/>
            <ac:grpSpMk id="6" creationId="{15FAAA19-90F2-4181-9898-E5A4DC62E0C8}"/>
          </ac:grpSpMkLst>
        </pc:grpChg>
        <pc:grpChg chg="add mod">
          <ac:chgData name="Hirose, Shiro" userId="f20e18a8-7af5-4f6d-9d3b-64a621699742" providerId="ADAL" clId="{2A9450C5-CA9A-4520-818F-3C925BD98F59}" dt="2022-04-28T07:44:05.047" v="457" actId="14100"/>
          <ac:grpSpMkLst>
            <pc:docMk/>
            <pc:sldMk cId="1977472086" sldId="267"/>
            <ac:grpSpMk id="9" creationId="{95BBBDE1-A2C5-4D17-84A4-EFC0FDB6D7D4}"/>
          </ac:grpSpMkLst>
        </pc:grpChg>
        <pc:picChg chg="mod">
          <ac:chgData name="Hirose, Shiro" userId="f20e18a8-7af5-4f6d-9d3b-64a621699742" providerId="ADAL" clId="{2A9450C5-CA9A-4520-818F-3C925BD98F59}" dt="2022-04-28T07:42:26.041" v="261" actId="1076"/>
          <ac:picMkLst>
            <pc:docMk/>
            <pc:sldMk cId="1977472086" sldId="267"/>
            <ac:picMk id="89" creationId="{749CF45F-7961-4F59-9894-2F40A1C56A28}"/>
          </ac:picMkLst>
        </pc:picChg>
        <pc:cxnChg chg="mod">
          <ac:chgData name="Hirose, Shiro" userId="f20e18a8-7af5-4f6d-9d3b-64a621699742" providerId="ADAL" clId="{2A9450C5-CA9A-4520-818F-3C925BD98F59}" dt="2022-04-28T07:31:24.939" v="64" actId="478"/>
          <ac:cxnSpMkLst>
            <pc:docMk/>
            <pc:sldMk cId="1977472086" sldId="267"/>
            <ac:cxnSpMk id="26" creationId="{071EC661-100D-49DB-ADDC-8D13525E84C1}"/>
          </ac:cxnSpMkLst>
        </pc:cxnChg>
        <pc:cxnChg chg="mod">
          <ac:chgData name="Hirose, Shiro" userId="f20e18a8-7af5-4f6d-9d3b-64a621699742" providerId="ADAL" clId="{2A9450C5-CA9A-4520-818F-3C925BD98F59}" dt="2022-04-28T07:31:24.939" v="64" actId="478"/>
          <ac:cxnSpMkLst>
            <pc:docMk/>
            <pc:sldMk cId="1977472086" sldId="267"/>
            <ac:cxnSpMk id="27" creationId="{C413587B-DB56-4B38-952C-1D9B20D343BA}"/>
          </ac:cxnSpMkLst>
        </pc:cxnChg>
        <pc:cxnChg chg="mod">
          <ac:chgData name="Hirose, Shiro" userId="f20e18a8-7af5-4f6d-9d3b-64a621699742" providerId="ADAL" clId="{2A9450C5-CA9A-4520-818F-3C925BD98F59}" dt="2022-04-28T07:31:24.939" v="64" actId="478"/>
          <ac:cxnSpMkLst>
            <pc:docMk/>
            <pc:sldMk cId="1977472086" sldId="267"/>
            <ac:cxnSpMk id="28" creationId="{29A53240-06A9-42DC-B923-E70A1EAA3AD3}"/>
          </ac:cxnSpMkLst>
        </pc:cxnChg>
      </pc:sldChg>
      <pc:sldChg chg="addSp delSp modSp mod">
        <pc:chgData name="Hirose, Shiro" userId="f20e18a8-7af5-4f6d-9d3b-64a621699742" providerId="ADAL" clId="{2A9450C5-CA9A-4520-818F-3C925BD98F59}" dt="2022-05-10T00:56:29.364" v="649" actId="20577"/>
        <pc:sldMkLst>
          <pc:docMk/>
          <pc:sldMk cId="3394613536" sldId="269"/>
        </pc:sldMkLst>
        <pc:spChg chg="del">
          <ac:chgData name="Hirose, Shiro" userId="f20e18a8-7af5-4f6d-9d3b-64a621699742" providerId="ADAL" clId="{2A9450C5-CA9A-4520-818F-3C925BD98F59}" dt="2022-04-28T07:27:45.696" v="3" actId="478"/>
          <ac:spMkLst>
            <pc:docMk/>
            <pc:sldMk cId="3394613536" sldId="269"/>
            <ac:spMk id="8" creationId="{18AAC2CB-A6A0-462C-A5CE-0BDC7587CEA0}"/>
          </ac:spMkLst>
        </pc:spChg>
        <pc:spChg chg="mod">
          <ac:chgData name="Hirose, Shiro" userId="f20e18a8-7af5-4f6d-9d3b-64a621699742" providerId="ADAL" clId="{2A9450C5-CA9A-4520-818F-3C925BD98F59}" dt="2022-04-28T07:48:07.127" v="539" actId="6549"/>
          <ac:spMkLst>
            <pc:docMk/>
            <pc:sldMk cId="3394613536" sldId="269"/>
            <ac:spMk id="10" creationId="{DEE63563-584E-4DCA-B7C6-01745DE4917A}"/>
          </ac:spMkLst>
        </pc:spChg>
        <pc:spChg chg="del">
          <ac:chgData name="Hirose, Shiro" userId="f20e18a8-7af5-4f6d-9d3b-64a621699742" providerId="ADAL" clId="{2A9450C5-CA9A-4520-818F-3C925BD98F59}" dt="2022-04-28T07:27:45.696" v="3" actId="478"/>
          <ac:spMkLst>
            <pc:docMk/>
            <pc:sldMk cId="3394613536" sldId="269"/>
            <ac:spMk id="13" creationId="{A7D574C2-CF38-4507-A413-EF7D58333581}"/>
          </ac:spMkLst>
        </pc:spChg>
        <pc:spChg chg="mod">
          <ac:chgData name="Hirose, Shiro" userId="f20e18a8-7af5-4f6d-9d3b-64a621699742" providerId="ADAL" clId="{2A9450C5-CA9A-4520-818F-3C925BD98F59}" dt="2022-05-10T00:56:24.921" v="647" actId="1076"/>
          <ac:spMkLst>
            <pc:docMk/>
            <pc:sldMk cId="3394613536" sldId="269"/>
            <ac:spMk id="15" creationId="{C26955F4-3FDD-434C-AD00-CE933C249483}"/>
          </ac:spMkLst>
        </pc:spChg>
        <pc:spChg chg="add mod">
          <ac:chgData name="Hirose, Shiro" userId="f20e18a8-7af5-4f6d-9d3b-64a621699742" providerId="ADAL" clId="{2A9450C5-CA9A-4520-818F-3C925BD98F59}" dt="2022-04-28T07:27:46.186" v="4"/>
          <ac:spMkLst>
            <pc:docMk/>
            <pc:sldMk cId="3394613536" sldId="269"/>
            <ac:spMk id="16" creationId="{B66B2400-173D-4ECF-A3C6-89D7249CB9CB}"/>
          </ac:spMkLst>
        </pc:spChg>
        <pc:spChg chg="del">
          <ac:chgData name="Hirose, Shiro" userId="f20e18a8-7af5-4f6d-9d3b-64a621699742" providerId="ADAL" clId="{2A9450C5-CA9A-4520-818F-3C925BD98F59}" dt="2022-05-10T00:54:51.920" v="643" actId="478"/>
          <ac:spMkLst>
            <pc:docMk/>
            <pc:sldMk cId="3394613536" sldId="269"/>
            <ac:spMk id="17" creationId="{C87D0881-14DC-404E-B4AD-FDCABABE652A}"/>
          </ac:spMkLst>
        </pc:spChg>
        <pc:spChg chg="add mod">
          <ac:chgData name="Hirose, Shiro" userId="f20e18a8-7af5-4f6d-9d3b-64a621699742" providerId="ADAL" clId="{2A9450C5-CA9A-4520-818F-3C925BD98F59}" dt="2022-04-28T07:28:12.726" v="30" actId="207"/>
          <ac:spMkLst>
            <pc:docMk/>
            <pc:sldMk cId="3394613536" sldId="269"/>
            <ac:spMk id="19" creationId="{B0540E00-4F83-438B-A437-5AFE6FFA0F2F}"/>
          </ac:spMkLst>
        </pc:spChg>
        <pc:spChg chg="add mod">
          <ac:chgData name="Hirose, Shiro" userId="f20e18a8-7af5-4f6d-9d3b-64a621699742" providerId="ADAL" clId="{2A9450C5-CA9A-4520-818F-3C925BD98F59}" dt="2022-04-28T07:28:34.468" v="61" actId="20577"/>
          <ac:spMkLst>
            <pc:docMk/>
            <pc:sldMk cId="3394613536" sldId="269"/>
            <ac:spMk id="22" creationId="{67A444B9-0D53-4493-B32D-AFD60C82AD89}"/>
          </ac:spMkLst>
        </pc:spChg>
        <pc:spChg chg="add mod">
          <ac:chgData name="Hirose, Shiro" userId="f20e18a8-7af5-4f6d-9d3b-64a621699742" providerId="ADAL" clId="{2A9450C5-CA9A-4520-818F-3C925BD98F59}" dt="2022-05-10T00:56:22.154" v="646" actId="1076"/>
          <ac:spMkLst>
            <pc:docMk/>
            <pc:sldMk cId="3394613536" sldId="269"/>
            <ac:spMk id="25" creationId="{D0FF05DF-B2DF-43F4-8F2A-F4B1E779D8C6}"/>
          </ac:spMkLst>
        </pc:spChg>
        <pc:spChg chg="add mod">
          <ac:chgData name="Hirose, Shiro" userId="f20e18a8-7af5-4f6d-9d3b-64a621699742" providerId="ADAL" clId="{2A9450C5-CA9A-4520-818F-3C925BD98F59}" dt="2022-05-10T00:56:29.364" v="649" actId="20577"/>
          <ac:spMkLst>
            <pc:docMk/>
            <pc:sldMk cId="3394613536" sldId="269"/>
            <ac:spMk id="26" creationId="{6C2E987F-1044-49D5-994F-73D1CBDF1D2E}"/>
          </ac:spMkLst>
        </pc:spChg>
        <pc:spChg chg="add mod">
          <ac:chgData name="Hirose, Shiro" userId="f20e18a8-7af5-4f6d-9d3b-64a621699742" providerId="ADAL" clId="{2A9450C5-CA9A-4520-818F-3C925BD98F59}" dt="2022-04-28T07:51:36.402" v="642" actId="20577"/>
          <ac:spMkLst>
            <pc:docMk/>
            <pc:sldMk cId="3394613536" sldId="269"/>
            <ac:spMk id="27" creationId="{7A8E5401-17BF-4808-8B54-C34C82DD66D3}"/>
          </ac:spMkLst>
        </pc:spChg>
      </pc:sldChg>
      <pc:sldChg chg="addSp modSp mod">
        <pc:chgData name="Hirose, Shiro" userId="f20e18a8-7af5-4f6d-9d3b-64a621699742" providerId="ADAL" clId="{2A9450C5-CA9A-4520-818F-3C925BD98F59}" dt="2022-05-10T00:54:57.296" v="644" actId="1076"/>
        <pc:sldMkLst>
          <pc:docMk/>
          <pc:sldMk cId="2100827560" sldId="270"/>
        </pc:sldMkLst>
        <pc:spChg chg="add mod">
          <ac:chgData name="Hirose, Shiro" userId="f20e18a8-7af5-4f6d-9d3b-64a621699742" providerId="ADAL" clId="{2A9450C5-CA9A-4520-818F-3C925BD98F59}" dt="2022-05-10T00:54:57.296" v="644" actId="1076"/>
          <ac:spMkLst>
            <pc:docMk/>
            <pc:sldMk cId="2100827560" sldId="270"/>
            <ac:spMk id="8" creationId="{E0E5FB8B-95CC-4EBF-8456-88154DFC9035}"/>
          </ac:spMkLst>
        </pc:spChg>
      </pc:sldChg>
    </pc:docChg>
  </pc:docChgLst>
  <pc:docChgLst>
    <pc:chgData name="Sone, Kazuki" userId="77277d76-024c-435f-bc21-30d513713aec" providerId="ADAL" clId="{90BF0A6F-C6A1-4348-BA48-5E3FEF24F7D3}"/>
    <pc:docChg chg="addSld modSld">
      <pc:chgData name="Sone, Kazuki" userId="77277d76-024c-435f-bc21-30d513713aec" providerId="ADAL" clId="{90BF0A6F-C6A1-4348-BA48-5E3FEF24F7D3}" dt="2022-05-12T07:22:44.264" v="1"/>
      <pc:docMkLst>
        <pc:docMk/>
      </pc:docMkLst>
      <pc:sldChg chg="new add">
        <pc:chgData name="Sone, Kazuki" userId="77277d76-024c-435f-bc21-30d513713aec" providerId="ADAL" clId="{90BF0A6F-C6A1-4348-BA48-5E3FEF24F7D3}" dt="2022-05-12T07:22:44.264" v="1"/>
        <pc:sldMkLst>
          <pc:docMk/>
          <pc:sldMk cId="20619356" sldId="271"/>
        </pc:sldMkLst>
      </pc:sldChg>
    </pc:docChg>
  </pc:docChgLst>
  <pc:docChgLst>
    <pc:chgData name="Hirose, Shiro" userId="f20e18a8-7af5-4f6d-9d3b-64a621699742" providerId="ADAL" clId="{0E85948B-46C3-460E-BEC1-4C631B20080E}"/>
    <pc:docChg chg="undo custSel addSld delSld modSld">
      <pc:chgData name="Hirose, Shiro" userId="f20e18a8-7af5-4f6d-9d3b-64a621699742" providerId="ADAL" clId="{0E85948B-46C3-460E-BEC1-4C631B20080E}" dt="2022-05-13T11:40:06.348" v="3865" actId="20577"/>
      <pc:docMkLst>
        <pc:docMk/>
      </pc:docMkLst>
      <pc:sldChg chg="addSp delSp modSp del mod">
        <pc:chgData name="Hirose, Shiro" userId="f20e18a8-7af5-4f6d-9d3b-64a621699742" providerId="ADAL" clId="{0E85948B-46C3-460E-BEC1-4C631B20080E}" dt="2022-05-12T20:14:39.689" v="85" actId="47"/>
        <pc:sldMkLst>
          <pc:docMk/>
          <pc:sldMk cId="3674044685" sldId="266"/>
        </pc:sldMkLst>
        <pc:spChg chg="add del mod">
          <ac:chgData name="Hirose, Shiro" userId="f20e18a8-7af5-4f6d-9d3b-64a621699742" providerId="ADAL" clId="{0E85948B-46C3-460E-BEC1-4C631B20080E}" dt="2022-05-12T20:14:18.616" v="81" actId="478"/>
          <ac:spMkLst>
            <pc:docMk/>
            <pc:sldMk cId="3674044685" sldId="266"/>
            <ac:spMk id="8" creationId="{97DAA514-5873-4581-8F3C-730DB43AAE16}"/>
          </ac:spMkLst>
        </pc:spChg>
        <pc:spChg chg="del">
          <ac:chgData name="Hirose, Shiro" userId="f20e18a8-7af5-4f6d-9d3b-64a621699742" providerId="ADAL" clId="{0E85948B-46C3-460E-BEC1-4C631B20080E}" dt="2022-05-12T20:14:33.957" v="84" actId="478"/>
          <ac:spMkLst>
            <pc:docMk/>
            <pc:sldMk cId="3674044685" sldId="266"/>
            <ac:spMk id="14" creationId="{66351582-76F9-4D6F-9ED7-F9037028AC09}"/>
          </ac:spMkLst>
        </pc:spChg>
        <pc:graphicFrameChg chg="del modGraphic">
          <ac:chgData name="Hirose, Shiro" userId="f20e18a8-7af5-4f6d-9d3b-64a621699742" providerId="ADAL" clId="{0E85948B-46C3-460E-BEC1-4C631B20080E}" dt="2022-05-12T20:14:33.957" v="84" actId="478"/>
          <ac:graphicFrameMkLst>
            <pc:docMk/>
            <pc:sldMk cId="3674044685" sldId="266"/>
            <ac:graphicFrameMk id="4" creationId="{F34AFFB5-142E-4001-A054-0BFF3F82D0B5}"/>
          </ac:graphicFrameMkLst>
        </pc:graphicFrameChg>
      </pc:sldChg>
      <pc:sldChg chg="addSp delSp modSp mod">
        <pc:chgData name="Hirose, Shiro" userId="f20e18a8-7af5-4f6d-9d3b-64a621699742" providerId="ADAL" clId="{0E85948B-46C3-460E-BEC1-4C631B20080E}" dt="2022-05-13T09:21:41.803" v="3563" actId="478"/>
        <pc:sldMkLst>
          <pc:docMk/>
          <pc:sldMk cId="1977472086" sldId="267"/>
        </pc:sldMkLst>
        <pc:spChg chg="add del mod">
          <ac:chgData name="Hirose, Shiro" userId="f20e18a8-7af5-4f6d-9d3b-64a621699742" providerId="ADAL" clId="{0E85948B-46C3-460E-BEC1-4C631B20080E}" dt="2022-05-13T09:17:22.055" v="3396" actId="478"/>
          <ac:spMkLst>
            <pc:docMk/>
            <pc:sldMk cId="1977472086" sldId="267"/>
            <ac:spMk id="3" creationId="{11045144-AE3C-4E1D-9B17-6781A253EAE7}"/>
          </ac:spMkLst>
        </pc:spChg>
        <pc:spChg chg="mod ord">
          <ac:chgData name="Hirose, Shiro" userId="f20e18a8-7af5-4f6d-9d3b-64a621699742" providerId="ADAL" clId="{0E85948B-46C3-460E-BEC1-4C631B20080E}" dt="2022-05-13T07:52:31.737" v="3353" actId="20577"/>
          <ac:spMkLst>
            <pc:docMk/>
            <pc:sldMk cId="1977472086" sldId="267"/>
            <ac:spMk id="7" creationId="{00000000-0000-0000-0000-000000000000}"/>
          </ac:spMkLst>
        </pc:spChg>
        <pc:spChg chg="mod ord">
          <ac:chgData name="Hirose, Shiro" userId="f20e18a8-7af5-4f6d-9d3b-64a621699742" providerId="ADAL" clId="{0E85948B-46C3-460E-BEC1-4C631B20080E}" dt="2022-05-13T04:12:36.343" v="3005"/>
          <ac:spMkLst>
            <pc:docMk/>
            <pc:sldMk cId="1977472086" sldId="267"/>
            <ac:spMk id="10" creationId="{DEE63563-584E-4DCA-B7C6-01745DE4917A}"/>
          </ac:spMkLst>
        </pc:spChg>
        <pc:spChg chg="mod ord">
          <ac:chgData name="Hirose, Shiro" userId="f20e18a8-7af5-4f6d-9d3b-64a621699742" providerId="ADAL" clId="{0E85948B-46C3-460E-BEC1-4C631B20080E}" dt="2022-05-13T04:14:11.436" v="3088" actId="6549"/>
          <ac:spMkLst>
            <pc:docMk/>
            <pc:sldMk cId="1977472086" sldId="267"/>
            <ac:spMk id="11" creationId="{DC3E25D4-F8A1-4CE2-8A45-3E2AA9FA3DA6}"/>
          </ac:spMkLst>
        </pc:spChg>
        <pc:spChg chg="add del mod">
          <ac:chgData name="Hirose, Shiro" userId="f20e18a8-7af5-4f6d-9d3b-64a621699742" providerId="ADAL" clId="{0E85948B-46C3-460E-BEC1-4C631B20080E}" dt="2022-05-12T20:31:22.501" v="826" actId="478"/>
          <ac:spMkLst>
            <pc:docMk/>
            <pc:sldMk cId="1977472086" sldId="267"/>
            <ac:spMk id="33" creationId="{CA0B4687-8CCD-442F-9D16-4A4CF1EA3BD4}"/>
          </ac:spMkLst>
        </pc:spChg>
        <pc:spChg chg="add del mod">
          <ac:chgData name="Hirose, Shiro" userId="f20e18a8-7af5-4f6d-9d3b-64a621699742" providerId="ADAL" clId="{0E85948B-46C3-460E-BEC1-4C631B20080E}" dt="2022-05-12T20:33:58.220" v="1117" actId="478"/>
          <ac:spMkLst>
            <pc:docMk/>
            <pc:sldMk cId="1977472086" sldId="267"/>
            <ac:spMk id="35" creationId="{D34DDCA0-8A0B-4B96-A8B8-0E25FFAA0E6B}"/>
          </ac:spMkLst>
        </pc:spChg>
        <pc:spChg chg="add del mod">
          <ac:chgData name="Hirose, Shiro" userId="f20e18a8-7af5-4f6d-9d3b-64a621699742" providerId="ADAL" clId="{0E85948B-46C3-460E-BEC1-4C631B20080E}" dt="2022-05-12T20:48:52.690" v="1590" actId="21"/>
          <ac:spMkLst>
            <pc:docMk/>
            <pc:sldMk cId="1977472086" sldId="267"/>
            <ac:spMk id="36" creationId="{11E9B946-C059-4AB3-B207-3998ACDA6447}"/>
          </ac:spMkLst>
        </pc:spChg>
        <pc:spChg chg="add del mod">
          <ac:chgData name="Hirose, Shiro" userId="f20e18a8-7af5-4f6d-9d3b-64a621699742" providerId="ADAL" clId="{0E85948B-46C3-460E-BEC1-4C631B20080E}" dt="2022-05-12T20:58:40.817" v="2175" actId="478"/>
          <ac:spMkLst>
            <pc:docMk/>
            <pc:sldMk cId="1977472086" sldId="267"/>
            <ac:spMk id="37" creationId="{393E3A8A-FF0E-48C7-A515-F0445EACBC9C}"/>
          </ac:spMkLst>
        </pc:spChg>
        <pc:spChg chg="add mod ord">
          <ac:chgData name="Hirose, Shiro" userId="f20e18a8-7af5-4f6d-9d3b-64a621699742" providerId="ADAL" clId="{0E85948B-46C3-460E-BEC1-4C631B20080E}" dt="2022-05-13T09:19:47.956" v="3525" actId="20577"/>
          <ac:spMkLst>
            <pc:docMk/>
            <pc:sldMk cId="1977472086" sldId="267"/>
            <ac:spMk id="38" creationId="{623E6686-701D-4648-A30E-67DAEDE23D29}"/>
          </ac:spMkLst>
        </pc:spChg>
        <pc:spChg chg="add mod ord">
          <ac:chgData name="Hirose, Shiro" userId="f20e18a8-7af5-4f6d-9d3b-64a621699742" providerId="ADAL" clId="{0E85948B-46C3-460E-BEC1-4C631B20080E}" dt="2022-05-13T09:20:07.158" v="3529" actId="6549"/>
          <ac:spMkLst>
            <pc:docMk/>
            <pc:sldMk cId="1977472086" sldId="267"/>
            <ac:spMk id="39" creationId="{6DEE543F-AB05-41F7-9CB0-51F4285C55B7}"/>
          </ac:spMkLst>
        </pc:spChg>
        <pc:spChg chg="add mod ord">
          <ac:chgData name="Hirose, Shiro" userId="f20e18a8-7af5-4f6d-9d3b-64a621699742" providerId="ADAL" clId="{0E85948B-46C3-460E-BEC1-4C631B20080E}" dt="2022-05-13T09:20:31.029" v="3550" actId="20577"/>
          <ac:spMkLst>
            <pc:docMk/>
            <pc:sldMk cId="1977472086" sldId="267"/>
            <ac:spMk id="40" creationId="{E07A12D3-C0F6-492E-B282-A27A199F9DF5}"/>
          </ac:spMkLst>
        </pc:spChg>
        <pc:spChg chg="add mod ord">
          <ac:chgData name="Hirose, Shiro" userId="f20e18a8-7af5-4f6d-9d3b-64a621699742" providerId="ADAL" clId="{0E85948B-46C3-460E-BEC1-4C631B20080E}" dt="2022-05-13T09:20:44.560" v="3554" actId="6549"/>
          <ac:spMkLst>
            <pc:docMk/>
            <pc:sldMk cId="1977472086" sldId="267"/>
            <ac:spMk id="41" creationId="{DD4F9DA1-6036-476B-9606-0BE256D398B1}"/>
          </ac:spMkLst>
        </pc:spChg>
        <pc:spChg chg="add mod ord">
          <ac:chgData name="Hirose, Shiro" userId="f20e18a8-7af5-4f6d-9d3b-64a621699742" providerId="ADAL" clId="{0E85948B-46C3-460E-BEC1-4C631B20080E}" dt="2022-05-13T09:20:51.448" v="3557" actId="20577"/>
          <ac:spMkLst>
            <pc:docMk/>
            <pc:sldMk cId="1977472086" sldId="267"/>
            <ac:spMk id="42" creationId="{7295A6FE-323B-4004-B0B2-99DF065EB7F4}"/>
          </ac:spMkLst>
        </pc:spChg>
        <pc:spChg chg="add del mod">
          <ac:chgData name="Hirose, Shiro" userId="f20e18a8-7af5-4f6d-9d3b-64a621699742" providerId="ADAL" clId="{0E85948B-46C3-460E-BEC1-4C631B20080E}" dt="2022-05-13T09:21:39.552" v="3562" actId="478"/>
          <ac:spMkLst>
            <pc:docMk/>
            <pc:sldMk cId="1977472086" sldId="267"/>
            <ac:spMk id="43" creationId="{218306AA-F18B-45E3-8AF6-150BD64FC464}"/>
          </ac:spMkLst>
        </pc:spChg>
        <pc:spChg chg="mod ord">
          <ac:chgData name="Hirose, Shiro" userId="f20e18a8-7af5-4f6d-9d3b-64a621699742" providerId="ADAL" clId="{0E85948B-46C3-460E-BEC1-4C631B20080E}" dt="2022-05-13T04:12:36.345" v="3011"/>
          <ac:spMkLst>
            <pc:docMk/>
            <pc:sldMk cId="1977472086" sldId="267"/>
            <ac:spMk id="50" creationId="{13978B6A-8FD5-4818-ABED-D023FE3A7410}"/>
          </ac:spMkLst>
        </pc:spChg>
        <pc:spChg chg="del mod">
          <ac:chgData name="Hirose, Shiro" userId="f20e18a8-7af5-4f6d-9d3b-64a621699742" providerId="ADAL" clId="{0E85948B-46C3-460E-BEC1-4C631B20080E}" dt="2022-05-12T20:33:54.520" v="1116" actId="478"/>
          <ac:spMkLst>
            <pc:docMk/>
            <pc:sldMk cId="1977472086" sldId="267"/>
            <ac:spMk id="57" creationId="{B82CD44C-CFE1-4E35-AFFE-DCC77C43B5BE}"/>
          </ac:spMkLst>
        </pc:spChg>
        <pc:spChg chg="mod ord">
          <ac:chgData name="Hirose, Shiro" userId="f20e18a8-7af5-4f6d-9d3b-64a621699742" providerId="ADAL" clId="{0E85948B-46C3-460E-BEC1-4C631B20080E}" dt="2022-05-13T04:12:36.344" v="3009"/>
          <ac:spMkLst>
            <pc:docMk/>
            <pc:sldMk cId="1977472086" sldId="267"/>
            <ac:spMk id="58" creationId="{156267D2-3367-44BA-9E6F-F9B125D77F35}"/>
          </ac:spMkLst>
        </pc:spChg>
        <pc:spChg chg="mod ord topLvl">
          <ac:chgData name="Hirose, Shiro" userId="f20e18a8-7af5-4f6d-9d3b-64a621699742" providerId="ADAL" clId="{0E85948B-46C3-460E-BEC1-4C631B20080E}" dt="2022-05-13T04:12:36.354" v="3049"/>
          <ac:spMkLst>
            <pc:docMk/>
            <pc:sldMk cId="1977472086" sldId="267"/>
            <ac:spMk id="60" creationId="{4CDDCD4A-6ACB-44C4-85EF-E6FB3210F951}"/>
          </ac:spMkLst>
        </pc:spChg>
        <pc:spChg chg="del mod ord">
          <ac:chgData name="Hirose, Shiro" userId="f20e18a8-7af5-4f6d-9d3b-64a621699742" providerId="ADAL" clId="{0E85948B-46C3-460E-BEC1-4C631B20080E}" dt="2022-05-13T09:21:39.552" v="3562" actId="478"/>
          <ac:spMkLst>
            <pc:docMk/>
            <pc:sldMk cId="1977472086" sldId="267"/>
            <ac:spMk id="64" creationId="{3F98DD9C-6CA0-4465-B9BA-BEC349DFF827}"/>
          </ac:spMkLst>
        </pc:spChg>
        <pc:spChg chg="del mod ord">
          <ac:chgData name="Hirose, Shiro" userId="f20e18a8-7af5-4f6d-9d3b-64a621699742" providerId="ADAL" clId="{0E85948B-46C3-460E-BEC1-4C631B20080E}" dt="2022-05-13T09:21:39.552" v="3562" actId="478"/>
          <ac:spMkLst>
            <pc:docMk/>
            <pc:sldMk cId="1977472086" sldId="267"/>
            <ac:spMk id="70" creationId="{4F186E58-7184-4EB0-BF50-03928C102CF5}"/>
          </ac:spMkLst>
        </pc:spChg>
        <pc:spChg chg="del mod ord">
          <ac:chgData name="Hirose, Shiro" userId="f20e18a8-7af5-4f6d-9d3b-64a621699742" providerId="ADAL" clId="{0E85948B-46C3-460E-BEC1-4C631B20080E}" dt="2022-05-13T09:21:39.552" v="3562" actId="478"/>
          <ac:spMkLst>
            <pc:docMk/>
            <pc:sldMk cId="1977472086" sldId="267"/>
            <ac:spMk id="71" creationId="{796FAD7B-97C7-4E09-9454-AE4BAAD1267F}"/>
          </ac:spMkLst>
        </pc:spChg>
        <pc:spChg chg="del mod ord">
          <ac:chgData name="Hirose, Shiro" userId="f20e18a8-7af5-4f6d-9d3b-64a621699742" providerId="ADAL" clId="{0E85948B-46C3-460E-BEC1-4C631B20080E}" dt="2022-05-13T09:21:39.552" v="3562" actId="478"/>
          <ac:spMkLst>
            <pc:docMk/>
            <pc:sldMk cId="1977472086" sldId="267"/>
            <ac:spMk id="72" creationId="{CE49FED1-A9C1-4D11-9622-DB08D9F733AE}"/>
          </ac:spMkLst>
        </pc:spChg>
        <pc:spChg chg="del mod ord">
          <ac:chgData name="Hirose, Shiro" userId="f20e18a8-7af5-4f6d-9d3b-64a621699742" providerId="ADAL" clId="{0E85948B-46C3-460E-BEC1-4C631B20080E}" dt="2022-05-13T09:21:39.552" v="3562" actId="478"/>
          <ac:spMkLst>
            <pc:docMk/>
            <pc:sldMk cId="1977472086" sldId="267"/>
            <ac:spMk id="73" creationId="{73176B07-45F4-4BE9-9FD0-C9F6A4400679}"/>
          </ac:spMkLst>
        </pc:spChg>
        <pc:spChg chg="del mod ord">
          <ac:chgData name="Hirose, Shiro" userId="f20e18a8-7af5-4f6d-9d3b-64a621699742" providerId="ADAL" clId="{0E85948B-46C3-460E-BEC1-4C631B20080E}" dt="2022-05-13T09:21:39.552" v="3562" actId="478"/>
          <ac:spMkLst>
            <pc:docMk/>
            <pc:sldMk cId="1977472086" sldId="267"/>
            <ac:spMk id="74" creationId="{DD3FA9C8-A096-46F3-B265-C81D9B0E64CE}"/>
          </ac:spMkLst>
        </pc:spChg>
        <pc:spChg chg="mod ord">
          <ac:chgData name="Hirose, Shiro" userId="f20e18a8-7af5-4f6d-9d3b-64a621699742" providerId="ADAL" clId="{0E85948B-46C3-460E-BEC1-4C631B20080E}" dt="2022-05-13T09:21:06.631" v="3561" actId="1076"/>
          <ac:spMkLst>
            <pc:docMk/>
            <pc:sldMk cId="1977472086" sldId="267"/>
            <ac:spMk id="75" creationId="{976549C6-4782-4DB0-A111-6DF40BBDCC53}"/>
          </ac:spMkLst>
        </pc:spChg>
        <pc:spChg chg="del mod ord">
          <ac:chgData name="Hirose, Shiro" userId="f20e18a8-7af5-4f6d-9d3b-64a621699742" providerId="ADAL" clId="{0E85948B-46C3-460E-BEC1-4C631B20080E}" dt="2022-05-13T09:21:39.552" v="3562" actId="478"/>
          <ac:spMkLst>
            <pc:docMk/>
            <pc:sldMk cId="1977472086" sldId="267"/>
            <ac:spMk id="76" creationId="{C011FA7F-C936-4686-8E17-D2C414CDD0C7}"/>
          </ac:spMkLst>
        </pc:spChg>
        <pc:spChg chg="del mod ord">
          <ac:chgData name="Hirose, Shiro" userId="f20e18a8-7af5-4f6d-9d3b-64a621699742" providerId="ADAL" clId="{0E85948B-46C3-460E-BEC1-4C631B20080E}" dt="2022-05-13T09:21:39.552" v="3562" actId="478"/>
          <ac:spMkLst>
            <pc:docMk/>
            <pc:sldMk cId="1977472086" sldId="267"/>
            <ac:spMk id="77" creationId="{0AD68173-FE69-4F3F-991A-97EE68372CD1}"/>
          </ac:spMkLst>
        </pc:spChg>
        <pc:spChg chg="del mod ord">
          <ac:chgData name="Hirose, Shiro" userId="f20e18a8-7af5-4f6d-9d3b-64a621699742" providerId="ADAL" clId="{0E85948B-46C3-460E-BEC1-4C631B20080E}" dt="2022-05-13T09:21:39.552" v="3562" actId="478"/>
          <ac:spMkLst>
            <pc:docMk/>
            <pc:sldMk cId="1977472086" sldId="267"/>
            <ac:spMk id="78" creationId="{642A39EF-5FD4-4E5B-B289-23475B8DCDC6}"/>
          </ac:spMkLst>
        </pc:spChg>
        <pc:spChg chg="del mod ord">
          <ac:chgData name="Hirose, Shiro" userId="f20e18a8-7af5-4f6d-9d3b-64a621699742" providerId="ADAL" clId="{0E85948B-46C3-460E-BEC1-4C631B20080E}" dt="2022-05-13T09:21:39.552" v="3562" actId="478"/>
          <ac:spMkLst>
            <pc:docMk/>
            <pc:sldMk cId="1977472086" sldId="267"/>
            <ac:spMk id="79" creationId="{7BF09C89-D781-4133-9077-52751DB3E70C}"/>
          </ac:spMkLst>
        </pc:spChg>
        <pc:spChg chg="del mod ord">
          <ac:chgData name="Hirose, Shiro" userId="f20e18a8-7af5-4f6d-9d3b-64a621699742" providerId="ADAL" clId="{0E85948B-46C3-460E-BEC1-4C631B20080E}" dt="2022-05-13T09:21:39.552" v="3562" actId="478"/>
          <ac:spMkLst>
            <pc:docMk/>
            <pc:sldMk cId="1977472086" sldId="267"/>
            <ac:spMk id="82" creationId="{2823CE4B-1822-4540-B167-7DA743285757}"/>
          </ac:spMkLst>
        </pc:spChg>
        <pc:spChg chg="del mod ord">
          <ac:chgData name="Hirose, Shiro" userId="f20e18a8-7af5-4f6d-9d3b-64a621699742" providerId="ADAL" clId="{0E85948B-46C3-460E-BEC1-4C631B20080E}" dt="2022-05-13T09:21:39.552" v="3562" actId="478"/>
          <ac:spMkLst>
            <pc:docMk/>
            <pc:sldMk cId="1977472086" sldId="267"/>
            <ac:spMk id="83" creationId="{2324865F-48AE-4ED5-8D4F-DAD96CE90DEE}"/>
          </ac:spMkLst>
        </pc:spChg>
        <pc:spChg chg="del mod ord">
          <ac:chgData name="Hirose, Shiro" userId="f20e18a8-7af5-4f6d-9d3b-64a621699742" providerId="ADAL" clId="{0E85948B-46C3-460E-BEC1-4C631B20080E}" dt="2022-05-13T09:21:39.552" v="3562" actId="478"/>
          <ac:spMkLst>
            <pc:docMk/>
            <pc:sldMk cId="1977472086" sldId="267"/>
            <ac:spMk id="84" creationId="{9EF9AE1F-0A25-42E6-8C54-217A9B08E103}"/>
          </ac:spMkLst>
        </pc:spChg>
        <pc:spChg chg="del mod ord">
          <ac:chgData name="Hirose, Shiro" userId="f20e18a8-7af5-4f6d-9d3b-64a621699742" providerId="ADAL" clId="{0E85948B-46C3-460E-BEC1-4C631B20080E}" dt="2022-05-13T09:21:39.552" v="3562" actId="478"/>
          <ac:spMkLst>
            <pc:docMk/>
            <pc:sldMk cId="1977472086" sldId="267"/>
            <ac:spMk id="85" creationId="{95D6D112-7E50-47BE-BCA8-882ECDA084B5}"/>
          </ac:spMkLst>
        </pc:spChg>
        <pc:spChg chg="del mod ord">
          <ac:chgData name="Hirose, Shiro" userId="f20e18a8-7af5-4f6d-9d3b-64a621699742" providerId="ADAL" clId="{0E85948B-46C3-460E-BEC1-4C631B20080E}" dt="2022-05-13T09:21:39.552" v="3562" actId="478"/>
          <ac:spMkLst>
            <pc:docMk/>
            <pc:sldMk cId="1977472086" sldId="267"/>
            <ac:spMk id="86" creationId="{0E512939-42E5-4C05-A395-E9258576624B}"/>
          </ac:spMkLst>
        </pc:spChg>
        <pc:spChg chg="del mod ord">
          <ac:chgData name="Hirose, Shiro" userId="f20e18a8-7af5-4f6d-9d3b-64a621699742" providerId="ADAL" clId="{0E85948B-46C3-460E-BEC1-4C631B20080E}" dt="2022-05-13T09:21:39.552" v="3562" actId="478"/>
          <ac:spMkLst>
            <pc:docMk/>
            <pc:sldMk cId="1977472086" sldId="267"/>
            <ac:spMk id="87" creationId="{5D60D6B7-7935-4C30-8413-E90270C86868}"/>
          </ac:spMkLst>
        </pc:spChg>
        <pc:spChg chg="del mod ord">
          <ac:chgData name="Hirose, Shiro" userId="f20e18a8-7af5-4f6d-9d3b-64a621699742" providerId="ADAL" clId="{0E85948B-46C3-460E-BEC1-4C631B20080E}" dt="2022-05-13T09:21:39.552" v="3562" actId="478"/>
          <ac:spMkLst>
            <pc:docMk/>
            <pc:sldMk cId="1977472086" sldId="267"/>
            <ac:spMk id="88" creationId="{81CC2E68-38E3-42F4-A852-3034DFC5F7D6}"/>
          </ac:spMkLst>
        </pc:spChg>
        <pc:spChg chg="mod ord topLvl">
          <ac:chgData name="Hirose, Shiro" userId="f20e18a8-7af5-4f6d-9d3b-64a621699742" providerId="ADAL" clId="{0E85948B-46C3-460E-BEC1-4C631B20080E}" dt="2022-05-13T04:12:36.355" v="3051"/>
          <ac:spMkLst>
            <pc:docMk/>
            <pc:sldMk cId="1977472086" sldId="267"/>
            <ac:spMk id="90" creationId="{FDF2E41B-47C3-4792-AD82-63FB5A58A0B8}"/>
          </ac:spMkLst>
        </pc:spChg>
        <pc:spChg chg="mod ord topLvl">
          <ac:chgData name="Hirose, Shiro" userId="f20e18a8-7af5-4f6d-9d3b-64a621699742" providerId="ADAL" clId="{0E85948B-46C3-460E-BEC1-4C631B20080E}" dt="2022-05-13T04:12:36.355" v="3053"/>
          <ac:spMkLst>
            <pc:docMk/>
            <pc:sldMk cId="1977472086" sldId="267"/>
            <ac:spMk id="91" creationId="{2ED2AFAB-DA5F-4BB4-83C5-668DCC300286}"/>
          </ac:spMkLst>
        </pc:spChg>
        <pc:spChg chg="mod ord topLvl">
          <ac:chgData name="Hirose, Shiro" userId="f20e18a8-7af5-4f6d-9d3b-64a621699742" providerId="ADAL" clId="{0E85948B-46C3-460E-BEC1-4C631B20080E}" dt="2022-05-13T04:12:36.356" v="3055"/>
          <ac:spMkLst>
            <pc:docMk/>
            <pc:sldMk cId="1977472086" sldId="267"/>
            <ac:spMk id="92" creationId="{F3447DF4-92AA-4B91-8D8C-88F3D8BEBE44}"/>
          </ac:spMkLst>
        </pc:spChg>
        <pc:grpChg chg="del mod">
          <ac:chgData name="Hirose, Shiro" userId="f20e18a8-7af5-4f6d-9d3b-64a621699742" providerId="ADAL" clId="{0E85948B-46C3-460E-BEC1-4C631B20080E}" dt="2022-05-12T21:00:07.678" v="2249" actId="165"/>
          <ac:grpSpMkLst>
            <pc:docMk/>
            <pc:sldMk cId="1977472086" sldId="267"/>
            <ac:grpSpMk id="9" creationId="{95BBBDE1-A2C5-4D17-84A4-EFC0FDB6D7D4}"/>
          </ac:grpSpMkLst>
        </pc:grpChg>
        <pc:graphicFrameChg chg="add mod ord modVis">
          <ac:chgData name="Hirose, Shiro" userId="f20e18a8-7af5-4f6d-9d3b-64a621699742" providerId="ADAL" clId="{0E85948B-46C3-460E-BEC1-4C631B20080E}" dt="2022-05-13T04:12:36.444" v="3084"/>
          <ac:graphicFrameMkLst>
            <pc:docMk/>
            <pc:sldMk cId="1977472086" sldId="267"/>
            <ac:graphicFrameMk id="2" creationId="{59A312F4-B1BF-415D-9006-8594637E78CB}"/>
          </ac:graphicFrameMkLst>
        </pc:graphicFrameChg>
        <pc:graphicFrameChg chg="add mod ord modGraphic">
          <ac:chgData name="Hirose, Shiro" userId="f20e18a8-7af5-4f6d-9d3b-64a621699742" providerId="ADAL" clId="{0E85948B-46C3-460E-BEC1-4C631B20080E}" dt="2022-05-13T09:19:41.858" v="3519"/>
          <ac:graphicFrameMkLst>
            <pc:docMk/>
            <pc:sldMk cId="1977472086" sldId="267"/>
            <ac:graphicFrameMk id="34" creationId="{5E22BFCC-44DF-4F88-BE36-FDB63ADB6938}"/>
          </ac:graphicFrameMkLst>
        </pc:graphicFrameChg>
        <pc:picChg chg="del mod ord">
          <ac:chgData name="Hirose, Shiro" userId="f20e18a8-7af5-4f6d-9d3b-64a621699742" providerId="ADAL" clId="{0E85948B-46C3-460E-BEC1-4C631B20080E}" dt="2022-05-13T09:21:41.803" v="3563" actId="478"/>
          <ac:picMkLst>
            <pc:docMk/>
            <pc:sldMk cId="1977472086" sldId="267"/>
            <ac:picMk id="89" creationId="{749CF45F-7961-4F59-9894-2F40A1C56A28}"/>
          </ac:picMkLst>
        </pc:picChg>
        <pc:cxnChg chg="mod ord">
          <ac:chgData name="Hirose, Shiro" userId="f20e18a8-7af5-4f6d-9d3b-64a621699742" providerId="ADAL" clId="{0E85948B-46C3-460E-BEC1-4C631B20080E}" dt="2022-05-13T04:12:36.342" v="3003"/>
          <ac:cxnSpMkLst>
            <pc:docMk/>
            <pc:sldMk cId="1977472086" sldId="267"/>
            <ac:cxnSpMk id="18" creationId="{00000000-0000-0000-0000-000000000000}"/>
          </ac:cxnSpMkLst>
        </pc:cxnChg>
      </pc:sldChg>
      <pc:sldChg chg="modSp mod">
        <pc:chgData name="Hirose, Shiro" userId="f20e18a8-7af5-4f6d-9d3b-64a621699742" providerId="ADAL" clId="{0E85948B-46C3-460E-BEC1-4C631B20080E}" dt="2022-05-12T21:05:55.582" v="2569" actId="20577"/>
        <pc:sldMkLst>
          <pc:docMk/>
          <pc:sldMk cId="4126881363" sldId="268"/>
        </pc:sldMkLst>
        <pc:spChg chg="mod">
          <ac:chgData name="Hirose, Shiro" userId="f20e18a8-7af5-4f6d-9d3b-64a621699742" providerId="ADAL" clId="{0E85948B-46C3-460E-BEC1-4C631B20080E}" dt="2022-05-12T21:05:55.582" v="2569" actId="20577"/>
          <ac:spMkLst>
            <pc:docMk/>
            <pc:sldMk cId="4126881363" sldId="268"/>
            <ac:spMk id="7" creationId="{00000000-0000-0000-0000-000000000000}"/>
          </ac:spMkLst>
        </pc:spChg>
      </pc:sldChg>
      <pc:sldChg chg="addSp delSp modSp mod">
        <pc:chgData name="Hirose, Shiro" userId="f20e18a8-7af5-4f6d-9d3b-64a621699742" providerId="ADAL" clId="{0E85948B-46C3-460E-BEC1-4C631B20080E}" dt="2022-05-13T11:37:13.153" v="3666" actId="122"/>
        <pc:sldMkLst>
          <pc:docMk/>
          <pc:sldMk cId="3394613536" sldId="269"/>
        </pc:sldMkLst>
        <pc:spChg chg="add mod">
          <ac:chgData name="Hirose, Shiro" userId="f20e18a8-7af5-4f6d-9d3b-64a621699742" providerId="ADAL" clId="{0E85948B-46C3-460E-BEC1-4C631B20080E}" dt="2022-05-13T11:37:13.153" v="3666" actId="122"/>
          <ac:spMkLst>
            <pc:docMk/>
            <pc:sldMk cId="3394613536" sldId="269"/>
            <ac:spMk id="2" creationId="{E503CD73-8574-41FD-BD1B-D6E136B530A8}"/>
          </ac:spMkLst>
        </pc:spChg>
        <pc:spChg chg="mod">
          <ac:chgData name="Hirose, Shiro" userId="f20e18a8-7af5-4f6d-9d3b-64a621699742" providerId="ADAL" clId="{0E85948B-46C3-460E-BEC1-4C631B20080E}" dt="2022-05-12T20:20:20.754" v="127" actId="20577"/>
          <ac:spMkLst>
            <pc:docMk/>
            <pc:sldMk cId="3394613536" sldId="269"/>
            <ac:spMk id="7" creationId="{00000000-0000-0000-0000-000000000000}"/>
          </ac:spMkLst>
        </pc:spChg>
        <pc:spChg chg="del mod">
          <ac:chgData name="Hirose, Shiro" userId="f20e18a8-7af5-4f6d-9d3b-64a621699742" providerId="ADAL" clId="{0E85948B-46C3-460E-BEC1-4C631B20080E}" dt="2022-05-13T07:30:49.940" v="3151" actId="478"/>
          <ac:spMkLst>
            <pc:docMk/>
            <pc:sldMk cId="3394613536" sldId="269"/>
            <ac:spMk id="10" creationId="{DEE63563-584E-4DCA-B7C6-01745DE4917A}"/>
          </ac:spMkLst>
        </pc:spChg>
        <pc:spChg chg="del mod">
          <ac:chgData name="Hirose, Shiro" userId="f20e18a8-7af5-4f6d-9d3b-64a621699742" providerId="ADAL" clId="{0E85948B-46C3-460E-BEC1-4C631B20080E}" dt="2022-05-13T07:30:52.938" v="3152" actId="478"/>
          <ac:spMkLst>
            <pc:docMk/>
            <pc:sldMk cId="3394613536" sldId="269"/>
            <ac:spMk id="11" creationId="{DC3E25D4-F8A1-4CE2-8A45-3E2AA9FA3DA6}"/>
          </ac:spMkLst>
        </pc:spChg>
        <pc:spChg chg="del mod">
          <ac:chgData name="Hirose, Shiro" userId="f20e18a8-7af5-4f6d-9d3b-64a621699742" providerId="ADAL" clId="{0E85948B-46C3-460E-BEC1-4C631B20080E}" dt="2022-05-13T04:07:53.353" v="2872" actId="478"/>
          <ac:spMkLst>
            <pc:docMk/>
            <pc:sldMk cId="3394613536" sldId="269"/>
            <ac:spMk id="14" creationId="{66351582-76F9-4D6F-9ED7-F9037028AC09}"/>
          </ac:spMkLst>
        </pc:spChg>
        <pc:spChg chg="add mod">
          <ac:chgData name="Hirose, Shiro" userId="f20e18a8-7af5-4f6d-9d3b-64a621699742" providerId="ADAL" clId="{0E85948B-46C3-460E-BEC1-4C631B20080E}" dt="2022-05-13T07:50:20.452" v="3266"/>
          <ac:spMkLst>
            <pc:docMk/>
            <pc:sldMk cId="3394613536" sldId="269"/>
            <ac:spMk id="14" creationId="{9F9C50CC-9AA4-4B8D-B105-BC77685ED5E4}"/>
          </ac:spMkLst>
        </pc:spChg>
        <pc:spChg chg="del mod">
          <ac:chgData name="Hirose, Shiro" userId="f20e18a8-7af5-4f6d-9d3b-64a621699742" providerId="ADAL" clId="{0E85948B-46C3-460E-BEC1-4C631B20080E}" dt="2022-05-12T20:45:07.354" v="1461" actId="478"/>
          <ac:spMkLst>
            <pc:docMk/>
            <pc:sldMk cId="3394613536" sldId="269"/>
            <ac:spMk id="15" creationId="{C26955F4-3FDD-434C-AD00-CE933C249483}"/>
          </ac:spMkLst>
        </pc:spChg>
        <pc:spChg chg="add mod">
          <ac:chgData name="Hirose, Shiro" userId="f20e18a8-7af5-4f6d-9d3b-64a621699742" providerId="ADAL" clId="{0E85948B-46C3-460E-BEC1-4C631B20080E}" dt="2022-05-13T07:56:19.545" v="3395" actId="1076"/>
          <ac:spMkLst>
            <pc:docMk/>
            <pc:sldMk cId="3394613536" sldId="269"/>
            <ac:spMk id="15" creationId="{F85378C7-CA66-44E3-B7CA-A005931FF98F}"/>
          </ac:spMkLst>
        </pc:spChg>
        <pc:spChg chg="mod">
          <ac:chgData name="Hirose, Shiro" userId="f20e18a8-7af5-4f6d-9d3b-64a621699742" providerId="ADAL" clId="{0E85948B-46C3-460E-BEC1-4C631B20080E}" dt="2022-05-13T07:51:07.866" v="3270" actId="14100"/>
          <ac:spMkLst>
            <pc:docMk/>
            <pc:sldMk cId="3394613536" sldId="269"/>
            <ac:spMk id="16" creationId="{B66B2400-173D-4ECF-A3C6-89D7249CB9CB}"/>
          </ac:spMkLst>
        </pc:spChg>
        <pc:spChg chg="add del mod">
          <ac:chgData name="Hirose, Shiro" userId="f20e18a8-7af5-4f6d-9d3b-64a621699742" providerId="ADAL" clId="{0E85948B-46C3-460E-BEC1-4C631B20080E}" dt="2022-05-13T07:30:49.940" v="3151" actId="478"/>
          <ac:spMkLst>
            <pc:docMk/>
            <pc:sldMk cId="3394613536" sldId="269"/>
            <ac:spMk id="17" creationId="{799AC524-ED88-4129-ADFF-6B90A87DD9C2}"/>
          </ac:spMkLst>
        </pc:spChg>
        <pc:spChg chg="mod">
          <ac:chgData name="Hirose, Shiro" userId="f20e18a8-7af5-4f6d-9d3b-64a621699742" providerId="ADAL" clId="{0E85948B-46C3-460E-BEC1-4C631B20080E}" dt="2022-05-13T07:51:01.270" v="3269" actId="14100"/>
          <ac:spMkLst>
            <pc:docMk/>
            <pc:sldMk cId="3394613536" sldId="269"/>
            <ac:spMk id="19" creationId="{B0540E00-4F83-438B-A437-5AFE6FFA0F2F}"/>
          </ac:spMkLst>
        </pc:spChg>
        <pc:spChg chg="del mod">
          <ac:chgData name="Hirose, Shiro" userId="f20e18a8-7af5-4f6d-9d3b-64a621699742" providerId="ADAL" clId="{0E85948B-46C3-460E-BEC1-4C631B20080E}" dt="2022-05-13T04:07:53.353" v="2872" actId="478"/>
          <ac:spMkLst>
            <pc:docMk/>
            <pc:sldMk cId="3394613536" sldId="269"/>
            <ac:spMk id="20" creationId="{B8567313-09CA-4EE3-BDAE-39870066654D}"/>
          </ac:spMkLst>
        </pc:spChg>
        <pc:spChg chg="add mod">
          <ac:chgData name="Hirose, Shiro" userId="f20e18a8-7af5-4f6d-9d3b-64a621699742" providerId="ADAL" clId="{0E85948B-46C3-460E-BEC1-4C631B20080E}" dt="2022-05-13T07:50:20.452" v="3266"/>
          <ac:spMkLst>
            <pc:docMk/>
            <pc:sldMk cId="3394613536" sldId="269"/>
            <ac:spMk id="20" creationId="{FD9DDB4F-A898-4E76-A233-4F72F8A5466B}"/>
          </ac:spMkLst>
        </pc:spChg>
        <pc:spChg chg="del mod">
          <ac:chgData name="Hirose, Shiro" userId="f20e18a8-7af5-4f6d-9d3b-64a621699742" providerId="ADAL" clId="{0E85948B-46C3-460E-BEC1-4C631B20080E}" dt="2022-05-13T07:52:59.437" v="3354" actId="478"/>
          <ac:spMkLst>
            <pc:docMk/>
            <pc:sldMk cId="3394613536" sldId="269"/>
            <ac:spMk id="22" creationId="{67A444B9-0D53-4493-B32D-AFD60C82AD89}"/>
          </ac:spMkLst>
        </pc:spChg>
        <pc:spChg chg="del mod">
          <ac:chgData name="Hirose, Shiro" userId="f20e18a8-7af5-4f6d-9d3b-64a621699742" providerId="ADAL" clId="{0E85948B-46C3-460E-BEC1-4C631B20080E}" dt="2022-05-12T20:38:22.416" v="1223" actId="478"/>
          <ac:spMkLst>
            <pc:docMk/>
            <pc:sldMk cId="3394613536" sldId="269"/>
            <ac:spMk id="23" creationId="{EAAE905D-6E9D-4FC2-8990-15E347C5FA92}"/>
          </ac:spMkLst>
        </pc:spChg>
        <pc:spChg chg="del mod">
          <ac:chgData name="Hirose, Shiro" userId="f20e18a8-7af5-4f6d-9d3b-64a621699742" providerId="ADAL" clId="{0E85948B-46C3-460E-BEC1-4C631B20080E}" dt="2022-05-12T20:45:02.484" v="1459" actId="478"/>
          <ac:spMkLst>
            <pc:docMk/>
            <pc:sldMk cId="3394613536" sldId="269"/>
            <ac:spMk id="24" creationId="{7BE5F0E9-FD7A-4201-B8B3-9373F9322021}"/>
          </ac:spMkLst>
        </pc:spChg>
        <pc:spChg chg="mod topLvl">
          <ac:chgData name="Hirose, Shiro" userId="f20e18a8-7af5-4f6d-9d3b-64a621699742" providerId="ADAL" clId="{0E85948B-46C3-460E-BEC1-4C631B20080E}" dt="2022-05-13T07:54:58.291" v="3364" actId="165"/>
          <ac:spMkLst>
            <pc:docMk/>
            <pc:sldMk cId="3394613536" sldId="269"/>
            <ac:spMk id="24" creationId="{F0029DFA-BF0B-4B58-8288-0AB7D2B6A664}"/>
          </ac:spMkLst>
        </pc:spChg>
        <pc:spChg chg="del mod">
          <ac:chgData name="Hirose, Shiro" userId="f20e18a8-7af5-4f6d-9d3b-64a621699742" providerId="ADAL" clId="{0E85948B-46C3-460E-BEC1-4C631B20080E}" dt="2022-05-13T07:30:49.940" v="3151" actId="478"/>
          <ac:spMkLst>
            <pc:docMk/>
            <pc:sldMk cId="3394613536" sldId="269"/>
            <ac:spMk id="25" creationId="{D0FF05DF-B2DF-43F4-8F2A-F4B1E779D8C6}"/>
          </ac:spMkLst>
        </pc:spChg>
        <pc:spChg chg="mod topLvl">
          <ac:chgData name="Hirose, Shiro" userId="f20e18a8-7af5-4f6d-9d3b-64a621699742" providerId="ADAL" clId="{0E85948B-46C3-460E-BEC1-4C631B20080E}" dt="2022-05-13T07:54:58.291" v="3364" actId="165"/>
          <ac:spMkLst>
            <pc:docMk/>
            <pc:sldMk cId="3394613536" sldId="269"/>
            <ac:spMk id="26" creationId="{5A9071BA-F8E5-4884-9154-D1F049124162}"/>
          </ac:spMkLst>
        </pc:spChg>
        <pc:spChg chg="del mod">
          <ac:chgData name="Hirose, Shiro" userId="f20e18a8-7af5-4f6d-9d3b-64a621699742" providerId="ADAL" clId="{0E85948B-46C3-460E-BEC1-4C631B20080E}" dt="2022-05-12T20:45:46.671" v="1487" actId="478"/>
          <ac:spMkLst>
            <pc:docMk/>
            <pc:sldMk cId="3394613536" sldId="269"/>
            <ac:spMk id="26" creationId="{6C2E987F-1044-49D5-994F-73D1CBDF1D2E}"/>
          </ac:spMkLst>
        </pc:spChg>
        <pc:spChg chg="del">
          <ac:chgData name="Hirose, Shiro" userId="f20e18a8-7af5-4f6d-9d3b-64a621699742" providerId="ADAL" clId="{0E85948B-46C3-460E-BEC1-4C631B20080E}" dt="2022-05-10T00:58:42.735" v="79" actId="478"/>
          <ac:spMkLst>
            <pc:docMk/>
            <pc:sldMk cId="3394613536" sldId="269"/>
            <ac:spMk id="27" creationId="{7A8E5401-17BF-4808-8B54-C34C82DD66D3}"/>
          </ac:spMkLst>
        </pc:spChg>
        <pc:spChg chg="add del mod">
          <ac:chgData name="Hirose, Shiro" userId="f20e18a8-7af5-4f6d-9d3b-64a621699742" providerId="ADAL" clId="{0E85948B-46C3-460E-BEC1-4C631B20080E}" dt="2022-05-12T20:45:33.596" v="1483" actId="478"/>
          <ac:spMkLst>
            <pc:docMk/>
            <pc:sldMk cId="3394613536" sldId="269"/>
            <ac:spMk id="27" creationId="{7DDAEFA1-136B-4C6D-87E9-9C0C360E7987}"/>
          </ac:spMkLst>
        </pc:spChg>
        <pc:spChg chg="mod topLvl">
          <ac:chgData name="Hirose, Shiro" userId="f20e18a8-7af5-4f6d-9d3b-64a621699742" providerId="ADAL" clId="{0E85948B-46C3-460E-BEC1-4C631B20080E}" dt="2022-05-13T07:54:58.291" v="3364" actId="165"/>
          <ac:spMkLst>
            <pc:docMk/>
            <pc:sldMk cId="3394613536" sldId="269"/>
            <ac:spMk id="27" creationId="{9CBDB8B8-AEA5-4C02-B6C2-FEE11A60E839}"/>
          </ac:spMkLst>
        </pc:spChg>
        <pc:spChg chg="add del mod">
          <ac:chgData name="Hirose, Shiro" userId="f20e18a8-7af5-4f6d-9d3b-64a621699742" providerId="ADAL" clId="{0E85948B-46C3-460E-BEC1-4C631B20080E}" dt="2022-05-13T07:30:49.940" v="3151" actId="478"/>
          <ac:spMkLst>
            <pc:docMk/>
            <pc:sldMk cId="3394613536" sldId="269"/>
            <ac:spMk id="28" creationId="{FB9B47E4-B26E-4106-AF3A-4B606A628988}"/>
          </ac:spMkLst>
        </pc:spChg>
        <pc:spChg chg="mod topLvl">
          <ac:chgData name="Hirose, Shiro" userId="f20e18a8-7af5-4f6d-9d3b-64a621699742" providerId="ADAL" clId="{0E85948B-46C3-460E-BEC1-4C631B20080E}" dt="2022-05-13T07:54:58.291" v="3364" actId="165"/>
          <ac:spMkLst>
            <pc:docMk/>
            <pc:sldMk cId="3394613536" sldId="269"/>
            <ac:spMk id="29" creationId="{66348FED-87BB-47C4-84AD-3B3318B4715C}"/>
          </ac:spMkLst>
        </pc:spChg>
        <pc:spChg chg="add del mod">
          <ac:chgData name="Hirose, Shiro" userId="f20e18a8-7af5-4f6d-9d3b-64a621699742" providerId="ADAL" clId="{0E85948B-46C3-460E-BEC1-4C631B20080E}" dt="2022-05-12T20:43:38.351" v="1370" actId="478"/>
          <ac:spMkLst>
            <pc:docMk/>
            <pc:sldMk cId="3394613536" sldId="269"/>
            <ac:spMk id="29" creationId="{D7920941-65D1-4FBF-8B90-02C2CC5F8D84}"/>
          </ac:spMkLst>
        </pc:spChg>
        <pc:spChg chg="add del mod">
          <ac:chgData name="Hirose, Shiro" userId="f20e18a8-7af5-4f6d-9d3b-64a621699742" providerId="ADAL" clId="{0E85948B-46C3-460E-BEC1-4C631B20080E}" dt="2022-05-13T07:30:49.940" v="3151" actId="478"/>
          <ac:spMkLst>
            <pc:docMk/>
            <pc:sldMk cId="3394613536" sldId="269"/>
            <ac:spMk id="30" creationId="{8FA2F088-14CE-452C-8087-9E1CAFDA0A06}"/>
          </ac:spMkLst>
        </pc:spChg>
        <pc:spChg chg="mod topLvl">
          <ac:chgData name="Hirose, Shiro" userId="f20e18a8-7af5-4f6d-9d3b-64a621699742" providerId="ADAL" clId="{0E85948B-46C3-460E-BEC1-4C631B20080E}" dt="2022-05-13T07:54:58.291" v="3364" actId="165"/>
          <ac:spMkLst>
            <pc:docMk/>
            <pc:sldMk cId="3394613536" sldId="269"/>
            <ac:spMk id="31" creationId="{4F38152A-1D56-4211-86F0-44D18DE65627}"/>
          </ac:spMkLst>
        </pc:spChg>
        <pc:spChg chg="mod topLvl">
          <ac:chgData name="Hirose, Shiro" userId="f20e18a8-7af5-4f6d-9d3b-64a621699742" providerId="ADAL" clId="{0E85948B-46C3-460E-BEC1-4C631B20080E}" dt="2022-05-13T07:55:32.640" v="3393" actId="14100"/>
          <ac:spMkLst>
            <pc:docMk/>
            <pc:sldMk cId="3394613536" sldId="269"/>
            <ac:spMk id="34" creationId="{52171B5E-E160-4CB3-9447-899709F1378E}"/>
          </ac:spMkLst>
        </pc:spChg>
        <pc:spChg chg="mod">
          <ac:chgData name="Hirose, Shiro" userId="f20e18a8-7af5-4f6d-9d3b-64a621699742" providerId="ADAL" clId="{0E85948B-46C3-460E-BEC1-4C631B20080E}" dt="2022-05-13T07:54:58.291" v="3364" actId="165"/>
          <ac:spMkLst>
            <pc:docMk/>
            <pc:sldMk cId="3394613536" sldId="269"/>
            <ac:spMk id="35" creationId="{6694C46A-A28B-4374-9C94-E0349362B7BC}"/>
          </ac:spMkLst>
        </pc:spChg>
        <pc:spChg chg="mod">
          <ac:chgData name="Hirose, Shiro" userId="f20e18a8-7af5-4f6d-9d3b-64a621699742" providerId="ADAL" clId="{0E85948B-46C3-460E-BEC1-4C631B20080E}" dt="2022-05-13T07:54:58.291" v="3364" actId="165"/>
          <ac:spMkLst>
            <pc:docMk/>
            <pc:sldMk cId="3394613536" sldId="269"/>
            <ac:spMk id="36" creationId="{E20B664A-F3ED-47D3-A173-1A5E653A3981}"/>
          </ac:spMkLst>
        </pc:spChg>
        <pc:spChg chg="mod">
          <ac:chgData name="Hirose, Shiro" userId="f20e18a8-7af5-4f6d-9d3b-64a621699742" providerId="ADAL" clId="{0E85948B-46C3-460E-BEC1-4C631B20080E}" dt="2022-05-13T07:54:58.291" v="3364" actId="165"/>
          <ac:spMkLst>
            <pc:docMk/>
            <pc:sldMk cId="3394613536" sldId="269"/>
            <ac:spMk id="37" creationId="{372995A1-0204-4ED1-B27F-C180BA61F885}"/>
          </ac:spMkLst>
        </pc:spChg>
        <pc:spChg chg="mod">
          <ac:chgData name="Hirose, Shiro" userId="f20e18a8-7af5-4f6d-9d3b-64a621699742" providerId="ADAL" clId="{0E85948B-46C3-460E-BEC1-4C631B20080E}" dt="2022-05-13T07:54:58.291" v="3364" actId="165"/>
          <ac:spMkLst>
            <pc:docMk/>
            <pc:sldMk cId="3394613536" sldId="269"/>
            <ac:spMk id="38" creationId="{1E247454-36BF-4783-BAD5-A2125EBF9576}"/>
          </ac:spMkLst>
        </pc:spChg>
        <pc:spChg chg="mod">
          <ac:chgData name="Hirose, Shiro" userId="f20e18a8-7af5-4f6d-9d3b-64a621699742" providerId="ADAL" clId="{0E85948B-46C3-460E-BEC1-4C631B20080E}" dt="2022-05-13T07:54:58.291" v="3364" actId="165"/>
          <ac:spMkLst>
            <pc:docMk/>
            <pc:sldMk cId="3394613536" sldId="269"/>
            <ac:spMk id="39" creationId="{FAE4DB7D-E586-4A45-93F8-97F2793606D3}"/>
          </ac:spMkLst>
        </pc:spChg>
        <pc:spChg chg="mod">
          <ac:chgData name="Hirose, Shiro" userId="f20e18a8-7af5-4f6d-9d3b-64a621699742" providerId="ADAL" clId="{0E85948B-46C3-460E-BEC1-4C631B20080E}" dt="2022-05-13T07:54:58.291" v="3364" actId="165"/>
          <ac:spMkLst>
            <pc:docMk/>
            <pc:sldMk cId="3394613536" sldId="269"/>
            <ac:spMk id="40" creationId="{8BE03040-383C-4E35-B11B-BFD3C5F47C25}"/>
          </ac:spMkLst>
        </pc:spChg>
        <pc:spChg chg="mod">
          <ac:chgData name="Hirose, Shiro" userId="f20e18a8-7af5-4f6d-9d3b-64a621699742" providerId="ADAL" clId="{0E85948B-46C3-460E-BEC1-4C631B20080E}" dt="2022-05-13T07:54:58.291" v="3364" actId="165"/>
          <ac:spMkLst>
            <pc:docMk/>
            <pc:sldMk cId="3394613536" sldId="269"/>
            <ac:spMk id="41" creationId="{CD3E1C22-19E5-4549-A282-6470D76FEE98}"/>
          </ac:spMkLst>
        </pc:spChg>
        <pc:spChg chg="mod">
          <ac:chgData name="Hirose, Shiro" userId="f20e18a8-7af5-4f6d-9d3b-64a621699742" providerId="ADAL" clId="{0E85948B-46C3-460E-BEC1-4C631B20080E}" dt="2022-05-13T07:54:58.291" v="3364" actId="165"/>
          <ac:spMkLst>
            <pc:docMk/>
            <pc:sldMk cId="3394613536" sldId="269"/>
            <ac:spMk id="42" creationId="{422E2803-442E-48ED-BE15-929FD3E0A069}"/>
          </ac:spMkLst>
        </pc:spChg>
        <pc:spChg chg="mod">
          <ac:chgData name="Hirose, Shiro" userId="f20e18a8-7af5-4f6d-9d3b-64a621699742" providerId="ADAL" clId="{0E85948B-46C3-460E-BEC1-4C631B20080E}" dt="2022-05-13T07:54:58.291" v="3364" actId="165"/>
          <ac:spMkLst>
            <pc:docMk/>
            <pc:sldMk cId="3394613536" sldId="269"/>
            <ac:spMk id="43" creationId="{69594979-7E5B-4C2D-97FB-C98BEA982A80}"/>
          </ac:spMkLst>
        </pc:spChg>
        <pc:spChg chg="mod">
          <ac:chgData name="Hirose, Shiro" userId="f20e18a8-7af5-4f6d-9d3b-64a621699742" providerId="ADAL" clId="{0E85948B-46C3-460E-BEC1-4C631B20080E}" dt="2022-05-13T07:54:58.291" v="3364" actId="165"/>
          <ac:spMkLst>
            <pc:docMk/>
            <pc:sldMk cId="3394613536" sldId="269"/>
            <ac:spMk id="44" creationId="{75EB0C4C-63FA-436E-9554-0B5E9D9C99AB}"/>
          </ac:spMkLst>
        </pc:spChg>
        <pc:spChg chg="mod">
          <ac:chgData name="Hirose, Shiro" userId="f20e18a8-7af5-4f6d-9d3b-64a621699742" providerId="ADAL" clId="{0E85948B-46C3-460E-BEC1-4C631B20080E}" dt="2022-05-13T07:54:58.291" v="3364" actId="165"/>
          <ac:spMkLst>
            <pc:docMk/>
            <pc:sldMk cId="3394613536" sldId="269"/>
            <ac:spMk id="45" creationId="{B0B7E095-1766-460C-9A21-F79720E7EEA8}"/>
          </ac:spMkLst>
        </pc:spChg>
        <pc:spChg chg="mod">
          <ac:chgData name="Hirose, Shiro" userId="f20e18a8-7af5-4f6d-9d3b-64a621699742" providerId="ADAL" clId="{0E85948B-46C3-460E-BEC1-4C631B20080E}" dt="2022-05-13T07:54:58.291" v="3364" actId="165"/>
          <ac:spMkLst>
            <pc:docMk/>
            <pc:sldMk cId="3394613536" sldId="269"/>
            <ac:spMk id="46" creationId="{2281E30C-AE33-498F-ACF8-C2BF228AE42F}"/>
          </ac:spMkLst>
        </pc:spChg>
        <pc:spChg chg="mod">
          <ac:chgData name="Hirose, Shiro" userId="f20e18a8-7af5-4f6d-9d3b-64a621699742" providerId="ADAL" clId="{0E85948B-46C3-460E-BEC1-4C631B20080E}" dt="2022-05-13T07:54:58.291" v="3364" actId="165"/>
          <ac:spMkLst>
            <pc:docMk/>
            <pc:sldMk cId="3394613536" sldId="269"/>
            <ac:spMk id="47" creationId="{114DA92B-D0EF-4DB0-89FA-C254929C6DA6}"/>
          </ac:spMkLst>
        </pc:spChg>
        <pc:spChg chg="mod">
          <ac:chgData name="Hirose, Shiro" userId="f20e18a8-7af5-4f6d-9d3b-64a621699742" providerId="ADAL" clId="{0E85948B-46C3-460E-BEC1-4C631B20080E}" dt="2022-05-13T07:54:58.291" v="3364" actId="165"/>
          <ac:spMkLst>
            <pc:docMk/>
            <pc:sldMk cId="3394613536" sldId="269"/>
            <ac:spMk id="48" creationId="{26CA8C9C-DF55-4B91-B7EE-8B7DCB03514F}"/>
          </ac:spMkLst>
        </pc:spChg>
        <pc:spChg chg="mod">
          <ac:chgData name="Hirose, Shiro" userId="f20e18a8-7af5-4f6d-9d3b-64a621699742" providerId="ADAL" clId="{0E85948B-46C3-460E-BEC1-4C631B20080E}" dt="2022-05-13T07:54:58.291" v="3364" actId="165"/>
          <ac:spMkLst>
            <pc:docMk/>
            <pc:sldMk cId="3394613536" sldId="269"/>
            <ac:spMk id="49" creationId="{50B46090-684E-44DA-919C-4FE71C7F98BF}"/>
          </ac:spMkLst>
        </pc:spChg>
        <pc:spChg chg="mod">
          <ac:chgData name="Hirose, Shiro" userId="f20e18a8-7af5-4f6d-9d3b-64a621699742" providerId="ADAL" clId="{0E85948B-46C3-460E-BEC1-4C631B20080E}" dt="2022-05-13T07:54:58.291" v="3364" actId="165"/>
          <ac:spMkLst>
            <pc:docMk/>
            <pc:sldMk cId="3394613536" sldId="269"/>
            <ac:spMk id="50" creationId="{81660DCC-FC65-419B-8596-F7D22A1AEB38}"/>
          </ac:spMkLst>
        </pc:spChg>
        <pc:spChg chg="mod">
          <ac:chgData name="Hirose, Shiro" userId="f20e18a8-7af5-4f6d-9d3b-64a621699742" providerId="ADAL" clId="{0E85948B-46C3-460E-BEC1-4C631B20080E}" dt="2022-05-13T07:54:58.291" v="3364" actId="165"/>
          <ac:spMkLst>
            <pc:docMk/>
            <pc:sldMk cId="3394613536" sldId="269"/>
            <ac:spMk id="51" creationId="{029B9C36-3082-401C-B620-888ABB873BCE}"/>
          </ac:spMkLst>
        </pc:spChg>
        <pc:spChg chg="mod">
          <ac:chgData name="Hirose, Shiro" userId="f20e18a8-7af5-4f6d-9d3b-64a621699742" providerId="ADAL" clId="{0E85948B-46C3-460E-BEC1-4C631B20080E}" dt="2022-05-13T07:54:58.291" v="3364" actId="165"/>
          <ac:spMkLst>
            <pc:docMk/>
            <pc:sldMk cId="3394613536" sldId="269"/>
            <ac:spMk id="52" creationId="{B35FE715-C0DF-4E40-A3B9-74D4A5366CDD}"/>
          </ac:spMkLst>
        </pc:spChg>
        <pc:spChg chg="mod">
          <ac:chgData name="Hirose, Shiro" userId="f20e18a8-7af5-4f6d-9d3b-64a621699742" providerId="ADAL" clId="{0E85948B-46C3-460E-BEC1-4C631B20080E}" dt="2022-05-13T07:54:58.291" v="3364" actId="165"/>
          <ac:spMkLst>
            <pc:docMk/>
            <pc:sldMk cId="3394613536" sldId="269"/>
            <ac:spMk id="53" creationId="{01213580-FA06-4BB4-8792-D0943CEFA075}"/>
          </ac:spMkLst>
        </pc:spChg>
        <pc:spChg chg="mod">
          <ac:chgData name="Hirose, Shiro" userId="f20e18a8-7af5-4f6d-9d3b-64a621699742" providerId="ADAL" clId="{0E85948B-46C3-460E-BEC1-4C631B20080E}" dt="2022-05-13T07:54:58.291" v="3364" actId="165"/>
          <ac:spMkLst>
            <pc:docMk/>
            <pc:sldMk cId="3394613536" sldId="269"/>
            <ac:spMk id="54" creationId="{1BD3D28E-6D95-4D4B-9C44-23ED1C17091F}"/>
          </ac:spMkLst>
        </pc:spChg>
        <pc:spChg chg="mod">
          <ac:chgData name="Hirose, Shiro" userId="f20e18a8-7af5-4f6d-9d3b-64a621699742" providerId="ADAL" clId="{0E85948B-46C3-460E-BEC1-4C631B20080E}" dt="2022-05-13T07:54:58.291" v="3364" actId="165"/>
          <ac:spMkLst>
            <pc:docMk/>
            <pc:sldMk cId="3394613536" sldId="269"/>
            <ac:spMk id="55" creationId="{98A85BED-6ED5-47CA-8B99-A741698353F7}"/>
          </ac:spMkLst>
        </pc:spChg>
        <pc:spChg chg="mod">
          <ac:chgData name="Hirose, Shiro" userId="f20e18a8-7af5-4f6d-9d3b-64a621699742" providerId="ADAL" clId="{0E85948B-46C3-460E-BEC1-4C631B20080E}" dt="2022-05-13T07:54:58.291" v="3364" actId="165"/>
          <ac:spMkLst>
            <pc:docMk/>
            <pc:sldMk cId="3394613536" sldId="269"/>
            <ac:spMk id="56" creationId="{7915E8D4-894E-4511-8FEF-6E9FCB94FC24}"/>
          </ac:spMkLst>
        </pc:spChg>
        <pc:spChg chg="mod">
          <ac:chgData name="Hirose, Shiro" userId="f20e18a8-7af5-4f6d-9d3b-64a621699742" providerId="ADAL" clId="{0E85948B-46C3-460E-BEC1-4C631B20080E}" dt="2022-05-13T07:54:58.291" v="3364" actId="165"/>
          <ac:spMkLst>
            <pc:docMk/>
            <pc:sldMk cId="3394613536" sldId="269"/>
            <ac:spMk id="57" creationId="{15F342E8-52F3-4625-936C-79207749E444}"/>
          </ac:spMkLst>
        </pc:spChg>
        <pc:spChg chg="mod">
          <ac:chgData name="Hirose, Shiro" userId="f20e18a8-7af5-4f6d-9d3b-64a621699742" providerId="ADAL" clId="{0E85948B-46C3-460E-BEC1-4C631B20080E}" dt="2022-05-13T07:54:58.291" v="3364" actId="165"/>
          <ac:spMkLst>
            <pc:docMk/>
            <pc:sldMk cId="3394613536" sldId="269"/>
            <ac:spMk id="58" creationId="{9DB3D600-7262-4C14-8458-9DF2A3F54AB1}"/>
          </ac:spMkLst>
        </pc:spChg>
        <pc:spChg chg="mod">
          <ac:chgData name="Hirose, Shiro" userId="f20e18a8-7af5-4f6d-9d3b-64a621699742" providerId="ADAL" clId="{0E85948B-46C3-460E-BEC1-4C631B20080E}" dt="2022-05-13T07:54:58.291" v="3364" actId="165"/>
          <ac:spMkLst>
            <pc:docMk/>
            <pc:sldMk cId="3394613536" sldId="269"/>
            <ac:spMk id="59" creationId="{BB4A3467-9CB6-4F24-A904-4308E04AC505}"/>
          </ac:spMkLst>
        </pc:spChg>
        <pc:spChg chg="mod">
          <ac:chgData name="Hirose, Shiro" userId="f20e18a8-7af5-4f6d-9d3b-64a621699742" providerId="ADAL" clId="{0E85948B-46C3-460E-BEC1-4C631B20080E}" dt="2022-05-13T07:54:58.291" v="3364" actId="165"/>
          <ac:spMkLst>
            <pc:docMk/>
            <pc:sldMk cId="3394613536" sldId="269"/>
            <ac:spMk id="60" creationId="{B2B7009E-3956-4F9D-9150-4D4AD89A4C76}"/>
          </ac:spMkLst>
        </pc:spChg>
        <pc:spChg chg="mod">
          <ac:chgData name="Hirose, Shiro" userId="f20e18a8-7af5-4f6d-9d3b-64a621699742" providerId="ADAL" clId="{0E85948B-46C3-460E-BEC1-4C631B20080E}" dt="2022-05-13T07:54:58.291" v="3364" actId="165"/>
          <ac:spMkLst>
            <pc:docMk/>
            <pc:sldMk cId="3394613536" sldId="269"/>
            <ac:spMk id="61" creationId="{10EC705C-4BAB-4D85-9666-E949429CC2E4}"/>
          </ac:spMkLst>
        </pc:spChg>
        <pc:spChg chg="mod">
          <ac:chgData name="Hirose, Shiro" userId="f20e18a8-7af5-4f6d-9d3b-64a621699742" providerId="ADAL" clId="{0E85948B-46C3-460E-BEC1-4C631B20080E}" dt="2022-05-13T07:54:58.291" v="3364" actId="165"/>
          <ac:spMkLst>
            <pc:docMk/>
            <pc:sldMk cId="3394613536" sldId="269"/>
            <ac:spMk id="62" creationId="{0C60BE65-5E61-4FF5-B7FA-99121145B24E}"/>
          </ac:spMkLst>
        </pc:spChg>
        <pc:spChg chg="mod">
          <ac:chgData name="Hirose, Shiro" userId="f20e18a8-7af5-4f6d-9d3b-64a621699742" providerId="ADAL" clId="{0E85948B-46C3-460E-BEC1-4C631B20080E}" dt="2022-05-13T07:54:58.291" v="3364" actId="165"/>
          <ac:spMkLst>
            <pc:docMk/>
            <pc:sldMk cId="3394613536" sldId="269"/>
            <ac:spMk id="63" creationId="{EB61C217-BF26-425D-A9B5-77645C98B26A}"/>
          </ac:spMkLst>
        </pc:spChg>
        <pc:spChg chg="mod">
          <ac:chgData name="Hirose, Shiro" userId="f20e18a8-7af5-4f6d-9d3b-64a621699742" providerId="ADAL" clId="{0E85948B-46C3-460E-BEC1-4C631B20080E}" dt="2022-05-13T07:54:58.291" v="3364" actId="165"/>
          <ac:spMkLst>
            <pc:docMk/>
            <pc:sldMk cId="3394613536" sldId="269"/>
            <ac:spMk id="64" creationId="{06B292B9-6AF1-44C5-A469-937B96B16240}"/>
          </ac:spMkLst>
        </pc:spChg>
        <pc:grpChg chg="add del mod">
          <ac:chgData name="Hirose, Shiro" userId="f20e18a8-7af5-4f6d-9d3b-64a621699742" providerId="ADAL" clId="{0E85948B-46C3-460E-BEC1-4C631B20080E}" dt="2022-05-13T07:54:58.291" v="3364" actId="165"/>
          <ac:grpSpMkLst>
            <pc:docMk/>
            <pc:sldMk cId="3394613536" sldId="269"/>
            <ac:grpSpMk id="23" creationId="{F8BB2DF2-06FE-46F9-AE5E-29A561922824}"/>
          </ac:grpSpMkLst>
        </pc:grpChg>
        <pc:grpChg chg="mod topLvl">
          <ac:chgData name="Hirose, Shiro" userId="f20e18a8-7af5-4f6d-9d3b-64a621699742" providerId="ADAL" clId="{0E85948B-46C3-460E-BEC1-4C631B20080E}" dt="2022-05-13T07:55:05.434" v="3365" actId="14100"/>
          <ac:grpSpMkLst>
            <pc:docMk/>
            <pc:sldMk cId="3394613536" sldId="269"/>
            <ac:grpSpMk id="32" creationId="{8BF0FC9E-3232-4448-BAE3-6D125B873AE9}"/>
          </ac:grpSpMkLst>
        </pc:grpChg>
        <pc:grpChg chg="mod topLvl">
          <ac:chgData name="Hirose, Shiro" userId="f20e18a8-7af5-4f6d-9d3b-64a621699742" providerId="ADAL" clId="{0E85948B-46C3-460E-BEC1-4C631B20080E}" dt="2022-05-13T07:55:11.596" v="3387" actId="1037"/>
          <ac:grpSpMkLst>
            <pc:docMk/>
            <pc:sldMk cId="3394613536" sldId="269"/>
            <ac:grpSpMk id="33" creationId="{B5609F7E-B289-4317-BD93-EE24D435461D}"/>
          </ac:grpSpMkLst>
        </pc:grpChg>
        <pc:graphicFrameChg chg="del mod modGraphic">
          <ac:chgData name="Hirose, Shiro" userId="f20e18a8-7af5-4f6d-9d3b-64a621699742" providerId="ADAL" clId="{0E85948B-46C3-460E-BEC1-4C631B20080E}" dt="2022-05-13T04:07:53.353" v="2872" actId="478"/>
          <ac:graphicFrameMkLst>
            <pc:docMk/>
            <pc:sldMk cId="3394613536" sldId="269"/>
            <ac:graphicFrameMk id="4" creationId="{F34AFFB5-142E-4001-A054-0BFF3F82D0B5}"/>
          </ac:graphicFrameMkLst>
        </pc:graphicFrameChg>
        <pc:picChg chg="add del mod">
          <ac:chgData name="Hirose, Shiro" userId="f20e18a8-7af5-4f6d-9d3b-64a621699742" providerId="ADAL" clId="{0E85948B-46C3-460E-BEC1-4C631B20080E}" dt="2022-05-12T20:45:35.121" v="1484" actId="478"/>
          <ac:picMkLst>
            <pc:docMk/>
            <pc:sldMk cId="3394613536" sldId="269"/>
            <ac:picMk id="3" creationId="{E95F17D1-F7C4-429E-B608-151330367600}"/>
          </ac:picMkLst>
        </pc:picChg>
      </pc:sldChg>
      <pc:sldChg chg="addSp delSp modSp del mod">
        <pc:chgData name="Hirose, Shiro" userId="f20e18a8-7af5-4f6d-9d3b-64a621699742" providerId="ADAL" clId="{0E85948B-46C3-460E-BEC1-4C631B20080E}" dt="2022-05-13T07:50:27.722" v="3267" actId="47"/>
        <pc:sldMkLst>
          <pc:docMk/>
          <pc:sldMk cId="2100827560" sldId="270"/>
        </pc:sldMkLst>
        <pc:spChg chg="mod ord">
          <ac:chgData name="Hirose, Shiro" userId="f20e18a8-7af5-4f6d-9d3b-64a621699742" providerId="ADAL" clId="{0E85948B-46C3-460E-BEC1-4C631B20080E}" dt="2022-05-12T20:55:44.384" v="2136"/>
          <ac:spMkLst>
            <pc:docMk/>
            <pc:sldMk cId="2100827560" sldId="270"/>
            <ac:spMk id="7" creationId="{00000000-0000-0000-0000-000000000000}"/>
          </ac:spMkLst>
        </pc:spChg>
        <pc:spChg chg="del mod">
          <ac:chgData name="Hirose, Shiro" userId="f20e18a8-7af5-4f6d-9d3b-64a621699742" providerId="ADAL" clId="{0E85948B-46C3-460E-BEC1-4C631B20080E}" dt="2022-05-12T20:49:10.418" v="1613" actId="478"/>
          <ac:spMkLst>
            <pc:docMk/>
            <pc:sldMk cId="2100827560" sldId="270"/>
            <ac:spMk id="8" creationId="{E0E5FB8B-95CC-4EBF-8456-88154DFC9035}"/>
          </ac:spMkLst>
        </pc:spChg>
        <pc:spChg chg="add del mod">
          <ac:chgData name="Hirose, Shiro" userId="f20e18a8-7af5-4f6d-9d3b-64a621699742" providerId="ADAL" clId="{0E85948B-46C3-460E-BEC1-4C631B20080E}" dt="2022-05-12T20:47:15.239" v="1502"/>
          <ac:spMkLst>
            <pc:docMk/>
            <pc:sldMk cId="2100827560" sldId="270"/>
            <ac:spMk id="9" creationId="{CBC2C705-5596-4502-B728-05D92A484FF8}"/>
          </ac:spMkLst>
        </pc:spChg>
        <pc:spChg chg="add del mod">
          <ac:chgData name="Hirose, Shiro" userId="f20e18a8-7af5-4f6d-9d3b-64a621699742" providerId="ADAL" clId="{0E85948B-46C3-460E-BEC1-4C631B20080E}" dt="2022-05-12T20:47:15.239" v="1502"/>
          <ac:spMkLst>
            <pc:docMk/>
            <pc:sldMk cId="2100827560" sldId="270"/>
            <ac:spMk id="10" creationId="{0F61E99E-97AA-4754-81D2-758823228542}"/>
          </ac:spMkLst>
        </pc:spChg>
        <pc:spChg chg="add del mod">
          <ac:chgData name="Hirose, Shiro" userId="f20e18a8-7af5-4f6d-9d3b-64a621699742" providerId="ADAL" clId="{0E85948B-46C3-460E-BEC1-4C631B20080E}" dt="2022-05-12T20:47:15.239" v="1502"/>
          <ac:spMkLst>
            <pc:docMk/>
            <pc:sldMk cId="2100827560" sldId="270"/>
            <ac:spMk id="11" creationId="{ADAC9660-6A44-4F9A-BFA7-5909647923A9}"/>
          </ac:spMkLst>
        </pc:spChg>
        <pc:spChg chg="add del mod">
          <ac:chgData name="Hirose, Shiro" userId="f20e18a8-7af5-4f6d-9d3b-64a621699742" providerId="ADAL" clId="{0E85948B-46C3-460E-BEC1-4C631B20080E}" dt="2022-05-12T20:47:15.239" v="1502"/>
          <ac:spMkLst>
            <pc:docMk/>
            <pc:sldMk cId="2100827560" sldId="270"/>
            <ac:spMk id="12" creationId="{4632526A-FB8D-40DC-B878-0CF27BA8BC70}"/>
          </ac:spMkLst>
        </pc:spChg>
        <pc:spChg chg="add del mod">
          <ac:chgData name="Hirose, Shiro" userId="f20e18a8-7af5-4f6d-9d3b-64a621699742" providerId="ADAL" clId="{0E85948B-46C3-460E-BEC1-4C631B20080E}" dt="2022-05-12T20:47:15.239" v="1502"/>
          <ac:spMkLst>
            <pc:docMk/>
            <pc:sldMk cId="2100827560" sldId="270"/>
            <ac:spMk id="13" creationId="{5C10677C-F16F-4163-8982-B50D8921E1A8}"/>
          </ac:spMkLst>
        </pc:spChg>
        <pc:spChg chg="add del mod">
          <ac:chgData name="Hirose, Shiro" userId="f20e18a8-7af5-4f6d-9d3b-64a621699742" providerId="ADAL" clId="{0E85948B-46C3-460E-BEC1-4C631B20080E}" dt="2022-05-12T20:47:15.239" v="1502"/>
          <ac:spMkLst>
            <pc:docMk/>
            <pc:sldMk cId="2100827560" sldId="270"/>
            <ac:spMk id="14" creationId="{EA213C83-245C-4039-AFFF-D2F1B91FE243}"/>
          </ac:spMkLst>
        </pc:spChg>
        <pc:spChg chg="add del mod">
          <ac:chgData name="Hirose, Shiro" userId="f20e18a8-7af5-4f6d-9d3b-64a621699742" providerId="ADAL" clId="{0E85948B-46C3-460E-BEC1-4C631B20080E}" dt="2022-05-12T20:47:15.239" v="1502"/>
          <ac:spMkLst>
            <pc:docMk/>
            <pc:sldMk cId="2100827560" sldId="270"/>
            <ac:spMk id="15" creationId="{16497603-C43A-4BBC-B030-C791FD89D09E}"/>
          </ac:spMkLst>
        </pc:spChg>
        <pc:spChg chg="add del mod">
          <ac:chgData name="Hirose, Shiro" userId="f20e18a8-7af5-4f6d-9d3b-64a621699742" providerId="ADAL" clId="{0E85948B-46C3-460E-BEC1-4C631B20080E}" dt="2022-05-12T20:47:15.239" v="1502"/>
          <ac:spMkLst>
            <pc:docMk/>
            <pc:sldMk cId="2100827560" sldId="270"/>
            <ac:spMk id="16" creationId="{B37B5255-4489-491F-A1FA-44A649650120}"/>
          </ac:spMkLst>
        </pc:spChg>
        <pc:spChg chg="add del mod">
          <ac:chgData name="Hirose, Shiro" userId="f20e18a8-7af5-4f6d-9d3b-64a621699742" providerId="ADAL" clId="{0E85948B-46C3-460E-BEC1-4C631B20080E}" dt="2022-05-12T20:47:15.239" v="1502"/>
          <ac:spMkLst>
            <pc:docMk/>
            <pc:sldMk cId="2100827560" sldId="270"/>
            <ac:spMk id="17" creationId="{1DC59395-1CF6-489D-9858-FE792292357F}"/>
          </ac:spMkLst>
        </pc:spChg>
        <pc:spChg chg="mod ord">
          <ac:chgData name="Hirose, Shiro" userId="f20e18a8-7af5-4f6d-9d3b-64a621699742" providerId="ADAL" clId="{0E85948B-46C3-460E-BEC1-4C631B20080E}" dt="2022-05-13T07:49:27.259" v="3220" actId="1076"/>
          <ac:spMkLst>
            <pc:docMk/>
            <pc:sldMk cId="2100827560" sldId="270"/>
            <ac:spMk id="19" creationId="{4F4A3C5B-40E7-4D3A-ABEA-9C89EA30DBFB}"/>
          </ac:spMkLst>
        </pc:spChg>
        <pc:spChg chg="add del mod">
          <ac:chgData name="Hirose, Shiro" userId="f20e18a8-7af5-4f6d-9d3b-64a621699742" providerId="ADAL" clId="{0E85948B-46C3-460E-BEC1-4C631B20080E}" dt="2022-05-12T20:47:15.239" v="1502"/>
          <ac:spMkLst>
            <pc:docMk/>
            <pc:sldMk cId="2100827560" sldId="270"/>
            <ac:spMk id="20" creationId="{5FB82B30-078B-4585-83AC-2B4726A5D25E}"/>
          </ac:spMkLst>
        </pc:spChg>
        <pc:spChg chg="add del mod">
          <ac:chgData name="Hirose, Shiro" userId="f20e18a8-7af5-4f6d-9d3b-64a621699742" providerId="ADAL" clId="{0E85948B-46C3-460E-BEC1-4C631B20080E}" dt="2022-05-12T20:47:15.239" v="1502"/>
          <ac:spMkLst>
            <pc:docMk/>
            <pc:sldMk cId="2100827560" sldId="270"/>
            <ac:spMk id="22" creationId="{CB2DB57E-8C74-41FB-8CEC-29A5F7EDC769}"/>
          </ac:spMkLst>
        </pc:spChg>
        <pc:spChg chg="add del mod">
          <ac:chgData name="Hirose, Shiro" userId="f20e18a8-7af5-4f6d-9d3b-64a621699742" providerId="ADAL" clId="{0E85948B-46C3-460E-BEC1-4C631B20080E}" dt="2022-05-12T20:47:15.239" v="1502"/>
          <ac:spMkLst>
            <pc:docMk/>
            <pc:sldMk cId="2100827560" sldId="270"/>
            <ac:spMk id="23" creationId="{6A0777D1-E5F8-467E-80E4-5538968DE5F2}"/>
          </ac:spMkLst>
        </pc:spChg>
        <pc:spChg chg="add del mod">
          <ac:chgData name="Hirose, Shiro" userId="f20e18a8-7af5-4f6d-9d3b-64a621699742" providerId="ADAL" clId="{0E85948B-46C3-460E-BEC1-4C631B20080E}" dt="2022-05-12T20:47:15.239" v="1502"/>
          <ac:spMkLst>
            <pc:docMk/>
            <pc:sldMk cId="2100827560" sldId="270"/>
            <ac:spMk id="24" creationId="{D42A3175-4494-4B2B-B0B4-7CAF80820EBB}"/>
          </ac:spMkLst>
        </pc:spChg>
        <pc:spChg chg="add del mod">
          <ac:chgData name="Hirose, Shiro" userId="f20e18a8-7af5-4f6d-9d3b-64a621699742" providerId="ADAL" clId="{0E85948B-46C3-460E-BEC1-4C631B20080E}" dt="2022-05-12T20:47:15.239" v="1502"/>
          <ac:spMkLst>
            <pc:docMk/>
            <pc:sldMk cId="2100827560" sldId="270"/>
            <ac:spMk id="25" creationId="{86C985AD-B13A-40DF-AF51-29634F4F8755}"/>
          </ac:spMkLst>
        </pc:spChg>
        <pc:spChg chg="add del mod">
          <ac:chgData name="Hirose, Shiro" userId="f20e18a8-7af5-4f6d-9d3b-64a621699742" providerId="ADAL" clId="{0E85948B-46C3-460E-BEC1-4C631B20080E}" dt="2022-05-12T20:47:15.239" v="1502"/>
          <ac:spMkLst>
            <pc:docMk/>
            <pc:sldMk cId="2100827560" sldId="270"/>
            <ac:spMk id="26" creationId="{59C2D483-D532-4F78-BFAF-82B96C978A6A}"/>
          </ac:spMkLst>
        </pc:spChg>
        <pc:spChg chg="add del mod">
          <ac:chgData name="Hirose, Shiro" userId="f20e18a8-7af5-4f6d-9d3b-64a621699742" providerId="ADAL" clId="{0E85948B-46C3-460E-BEC1-4C631B20080E}" dt="2022-05-12T20:47:15.239" v="1502"/>
          <ac:spMkLst>
            <pc:docMk/>
            <pc:sldMk cId="2100827560" sldId="270"/>
            <ac:spMk id="27" creationId="{5218197B-50EA-4E0A-8089-32396400509E}"/>
          </ac:spMkLst>
        </pc:spChg>
        <pc:spChg chg="add del mod">
          <ac:chgData name="Hirose, Shiro" userId="f20e18a8-7af5-4f6d-9d3b-64a621699742" providerId="ADAL" clId="{0E85948B-46C3-460E-BEC1-4C631B20080E}" dt="2022-05-12T20:47:15.239" v="1502"/>
          <ac:spMkLst>
            <pc:docMk/>
            <pc:sldMk cId="2100827560" sldId="270"/>
            <ac:spMk id="28" creationId="{3BC3EE87-75E4-4E54-B032-9962D6710383}"/>
          </ac:spMkLst>
        </pc:spChg>
        <pc:spChg chg="add del mod">
          <ac:chgData name="Hirose, Shiro" userId="f20e18a8-7af5-4f6d-9d3b-64a621699742" providerId="ADAL" clId="{0E85948B-46C3-460E-BEC1-4C631B20080E}" dt="2022-05-12T20:47:15.239" v="1502"/>
          <ac:spMkLst>
            <pc:docMk/>
            <pc:sldMk cId="2100827560" sldId="270"/>
            <ac:spMk id="29" creationId="{824E42C3-1B88-4945-93F7-E1CE74F67E9A}"/>
          </ac:spMkLst>
        </pc:spChg>
        <pc:spChg chg="add del mod">
          <ac:chgData name="Hirose, Shiro" userId="f20e18a8-7af5-4f6d-9d3b-64a621699742" providerId="ADAL" clId="{0E85948B-46C3-460E-BEC1-4C631B20080E}" dt="2022-05-12T20:47:15.239" v="1502"/>
          <ac:spMkLst>
            <pc:docMk/>
            <pc:sldMk cId="2100827560" sldId="270"/>
            <ac:spMk id="30" creationId="{2F602A62-C858-4F76-9A5F-9A091952C5D0}"/>
          </ac:spMkLst>
        </pc:spChg>
        <pc:spChg chg="add del mod">
          <ac:chgData name="Hirose, Shiro" userId="f20e18a8-7af5-4f6d-9d3b-64a621699742" providerId="ADAL" clId="{0E85948B-46C3-460E-BEC1-4C631B20080E}" dt="2022-05-12T20:47:15.239" v="1502"/>
          <ac:spMkLst>
            <pc:docMk/>
            <pc:sldMk cId="2100827560" sldId="270"/>
            <ac:spMk id="31" creationId="{7955C5FD-0870-4F21-BC92-B03677E2A597}"/>
          </ac:spMkLst>
        </pc:spChg>
        <pc:spChg chg="add mod ord topLvl">
          <ac:chgData name="Hirose, Shiro" userId="f20e18a8-7af5-4f6d-9d3b-64a621699742" providerId="ADAL" clId="{0E85948B-46C3-460E-BEC1-4C631B20080E}" dt="2022-05-13T07:49:15.276" v="3217" actId="164"/>
          <ac:spMkLst>
            <pc:docMk/>
            <pc:sldMk cId="2100827560" sldId="270"/>
            <ac:spMk id="32" creationId="{77C6A014-64E3-4EFB-B23D-AAD7F4CBFC78}"/>
          </ac:spMkLst>
        </pc:spChg>
        <pc:spChg chg="add mod">
          <ac:chgData name="Hirose, Shiro" userId="f20e18a8-7af5-4f6d-9d3b-64a621699742" providerId="ADAL" clId="{0E85948B-46C3-460E-BEC1-4C631B20080E}" dt="2022-05-13T07:49:10.240" v="3216" actId="255"/>
          <ac:spMkLst>
            <pc:docMk/>
            <pc:sldMk cId="2100827560" sldId="270"/>
            <ac:spMk id="33" creationId="{0A206A94-B343-4AAF-8F79-BE8EE79389FA}"/>
          </ac:spMkLst>
        </pc:spChg>
        <pc:spChg chg="add mod ord topLvl">
          <ac:chgData name="Hirose, Shiro" userId="f20e18a8-7af5-4f6d-9d3b-64a621699742" providerId="ADAL" clId="{0E85948B-46C3-460E-BEC1-4C631B20080E}" dt="2022-05-13T07:49:15.276" v="3217" actId="164"/>
          <ac:spMkLst>
            <pc:docMk/>
            <pc:sldMk cId="2100827560" sldId="270"/>
            <ac:spMk id="34" creationId="{3ADAB8FC-9F5E-440B-8024-F989B38531C7}"/>
          </ac:spMkLst>
        </pc:spChg>
        <pc:spChg chg="add mod ord topLvl">
          <ac:chgData name="Hirose, Shiro" userId="f20e18a8-7af5-4f6d-9d3b-64a621699742" providerId="ADAL" clId="{0E85948B-46C3-460E-BEC1-4C631B20080E}" dt="2022-05-13T07:49:15.276" v="3217" actId="164"/>
          <ac:spMkLst>
            <pc:docMk/>
            <pc:sldMk cId="2100827560" sldId="270"/>
            <ac:spMk id="35" creationId="{7D2EE17C-D8B9-496D-8D8C-4FF5A6A217C5}"/>
          </ac:spMkLst>
        </pc:spChg>
        <pc:spChg chg="add mod ord topLvl">
          <ac:chgData name="Hirose, Shiro" userId="f20e18a8-7af5-4f6d-9d3b-64a621699742" providerId="ADAL" clId="{0E85948B-46C3-460E-BEC1-4C631B20080E}" dt="2022-05-13T07:49:15.276" v="3217" actId="164"/>
          <ac:spMkLst>
            <pc:docMk/>
            <pc:sldMk cId="2100827560" sldId="270"/>
            <ac:spMk id="36" creationId="{7285B804-4383-48F7-81F5-757D46DA36A6}"/>
          </ac:spMkLst>
        </pc:spChg>
        <pc:spChg chg="add mod ord topLvl">
          <ac:chgData name="Hirose, Shiro" userId="f20e18a8-7af5-4f6d-9d3b-64a621699742" providerId="ADAL" clId="{0E85948B-46C3-460E-BEC1-4C631B20080E}" dt="2022-05-13T07:49:15.276" v="3217" actId="164"/>
          <ac:spMkLst>
            <pc:docMk/>
            <pc:sldMk cId="2100827560" sldId="270"/>
            <ac:spMk id="37" creationId="{E04A53AB-1C3E-4955-9856-0DB606856207}"/>
          </ac:spMkLst>
        </pc:spChg>
        <pc:spChg chg="add mod">
          <ac:chgData name="Hirose, Shiro" userId="f20e18a8-7af5-4f6d-9d3b-64a621699742" providerId="ADAL" clId="{0E85948B-46C3-460E-BEC1-4C631B20080E}" dt="2022-05-13T07:49:10.240" v="3216" actId="255"/>
          <ac:spMkLst>
            <pc:docMk/>
            <pc:sldMk cId="2100827560" sldId="270"/>
            <ac:spMk id="38" creationId="{2449AD69-1EA1-498C-9ACF-06F574CF96C1}"/>
          </ac:spMkLst>
        </pc:spChg>
        <pc:spChg chg="add mod">
          <ac:chgData name="Hirose, Shiro" userId="f20e18a8-7af5-4f6d-9d3b-64a621699742" providerId="ADAL" clId="{0E85948B-46C3-460E-BEC1-4C631B20080E}" dt="2022-05-13T07:49:10.240" v="3216" actId="255"/>
          <ac:spMkLst>
            <pc:docMk/>
            <pc:sldMk cId="2100827560" sldId="270"/>
            <ac:spMk id="39" creationId="{77DD8658-13D0-49CE-B1B5-281394A18692}"/>
          </ac:spMkLst>
        </pc:spChg>
        <pc:spChg chg="add mod">
          <ac:chgData name="Hirose, Shiro" userId="f20e18a8-7af5-4f6d-9d3b-64a621699742" providerId="ADAL" clId="{0E85948B-46C3-460E-BEC1-4C631B20080E}" dt="2022-05-13T07:49:10.240" v="3216" actId="255"/>
          <ac:spMkLst>
            <pc:docMk/>
            <pc:sldMk cId="2100827560" sldId="270"/>
            <ac:spMk id="40" creationId="{3174FF4D-0ED8-46D5-8CBF-438987A99932}"/>
          </ac:spMkLst>
        </pc:spChg>
        <pc:spChg chg="add mod">
          <ac:chgData name="Hirose, Shiro" userId="f20e18a8-7af5-4f6d-9d3b-64a621699742" providerId="ADAL" clId="{0E85948B-46C3-460E-BEC1-4C631B20080E}" dt="2022-05-13T07:49:10.240" v="3216" actId="255"/>
          <ac:spMkLst>
            <pc:docMk/>
            <pc:sldMk cId="2100827560" sldId="270"/>
            <ac:spMk id="41" creationId="{368003CC-D85C-4A73-9DEC-7DCAC635CBB6}"/>
          </ac:spMkLst>
        </pc:spChg>
        <pc:spChg chg="add mod">
          <ac:chgData name="Hirose, Shiro" userId="f20e18a8-7af5-4f6d-9d3b-64a621699742" providerId="ADAL" clId="{0E85948B-46C3-460E-BEC1-4C631B20080E}" dt="2022-05-13T07:49:10.240" v="3216" actId="255"/>
          <ac:spMkLst>
            <pc:docMk/>
            <pc:sldMk cId="2100827560" sldId="270"/>
            <ac:spMk id="42" creationId="{FDA156D7-988A-4BA6-BC18-A0953405C004}"/>
          </ac:spMkLst>
        </pc:spChg>
        <pc:spChg chg="add mod">
          <ac:chgData name="Hirose, Shiro" userId="f20e18a8-7af5-4f6d-9d3b-64a621699742" providerId="ADAL" clId="{0E85948B-46C3-460E-BEC1-4C631B20080E}" dt="2022-05-13T07:49:10.240" v="3216" actId="255"/>
          <ac:spMkLst>
            <pc:docMk/>
            <pc:sldMk cId="2100827560" sldId="270"/>
            <ac:spMk id="43" creationId="{192357B5-7DA6-4EC8-82E3-AB06AC62CB45}"/>
          </ac:spMkLst>
        </pc:spChg>
        <pc:spChg chg="add mod">
          <ac:chgData name="Hirose, Shiro" userId="f20e18a8-7af5-4f6d-9d3b-64a621699742" providerId="ADAL" clId="{0E85948B-46C3-460E-BEC1-4C631B20080E}" dt="2022-05-13T07:49:10.240" v="3216" actId="255"/>
          <ac:spMkLst>
            <pc:docMk/>
            <pc:sldMk cId="2100827560" sldId="270"/>
            <ac:spMk id="44" creationId="{A5B56F22-D01D-485D-B0A6-964E3099E035}"/>
          </ac:spMkLst>
        </pc:spChg>
        <pc:spChg chg="add mod">
          <ac:chgData name="Hirose, Shiro" userId="f20e18a8-7af5-4f6d-9d3b-64a621699742" providerId="ADAL" clId="{0E85948B-46C3-460E-BEC1-4C631B20080E}" dt="2022-05-13T07:49:10.240" v="3216" actId="255"/>
          <ac:spMkLst>
            <pc:docMk/>
            <pc:sldMk cId="2100827560" sldId="270"/>
            <ac:spMk id="45" creationId="{D7D1F851-D5E3-408A-AF23-6898FDE3D0F1}"/>
          </ac:spMkLst>
        </pc:spChg>
        <pc:spChg chg="add mod">
          <ac:chgData name="Hirose, Shiro" userId="f20e18a8-7af5-4f6d-9d3b-64a621699742" providerId="ADAL" clId="{0E85948B-46C3-460E-BEC1-4C631B20080E}" dt="2022-05-13T07:49:10.240" v="3216" actId="255"/>
          <ac:spMkLst>
            <pc:docMk/>
            <pc:sldMk cId="2100827560" sldId="270"/>
            <ac:spMk id="46" creationId="{828AB88D-2C50-46A0-B327-16A4AAC41E4A}"/>
          </ac:spMkLst>
        </pc:spChg>
        <pc:spChg chg="add mod">
          <ac:chgData name="Hirose, Shiro" userId="f20e18a8-7af5-4f6d-9d3b-64a621699742" providerId="ADAL" clId="{0E85948B-46C3-460E-BEC1-4C631B20080E}" dt="2022-05-13T07:49:10.240" v="3216" actId="255"/>
          <ac:spMkLst>
            <pc:docMk/>
            <pc:sldMk cId="2100827560" sldId="270"/>
            <ac:spMk id="47" creationId="{A394BF0D-4382-4F8D-9D8A-9D78A6AF4FFE}"/>
          </ac:spMkLst>
        </pc:spChg>
        <pc:spChg chg="add mod">
          <ac:chgData name="Hirose, Shiro" userId="f20e18a8-7af5-4f6d-9d3b-64a621699742" providerId="ADAL" clId="{0E85948B-46C3-460E-BEC1-4C631B20080E}" dt="2022-05-13T07:49:10.240" v="3216" actId="255"/>
          <ac:spMkLst>
            <pc:docMk/>
            <pc:sldMk cId="2100827560" sldId="270"/>
            <ac:spMk id="48" creationId="{5E85176D-92A1-4701-A941-9DBFFE9ABB88}"/>
          </ac:spMkLst>
        </pc:spChg>
        <pc:spChg chg="add mod">
          <ac:chgData name="Hirose, Shiro" userId="f20e18a8-7af5-4f6d-9d3b-64a621699742" providerId="ADAL" clId="{0E85948B-46C3-460E-BEC1-4C631B20080E}" dt="2022-05-13T07:49:10.240" v="3216" actId="255"/>
          <ac:spMkLst>
            <pc:docMk/>
            <pc:sldMk cId="2100827560" sldId="270"/>
            <ac:spMk id="49" creationId="{D4922C36-D6A8-46B4-B90B-8CE6B442C68A}"/>
          </ac:spMkLst>
        </pc:spChg>
        <pc:spChg chg="add mod">
          <ac:chgData name="Hirose, Shiro" userId="f20e18a8-7af5-4f6d-9d3b-64a621699742" providerId="ADAL" clId="{0E85948B-46C3-460E-BEC1-4C631B20080E}" dt="2022-05-13T07:49:10.240" v="3216" actId="255"/>
          <ac:spMkLst>
            <pc:docMk/>
            <pc:sldMk cId="2100827560" sldId="270"/>
            <ac:spMk id="50" creationId="{73BAC524-7866-4C38-A7A2-52EFC86D0B43}"/>
          </ac:spMkLst>
        </pc:spChg>
        <pc:spChg chg="add mod">
          <ac:chgData name="Hirose, Shiro" userId="f20e18a8-7af5-4f6d-9d3b-64a621699742" providerId="ADAL" clId="{0E85948B-46C3-460E-BEC1-4C631B20080E}" dt="2022-05-13T07:49:10.240" v="3216" actId="255"/>
          <ac:spMkLst>
            <pc:docMk/>
            <pc:sldMk cId="2100827560" sldId="270"/>
            <ac:spMk id="51" creationId="{82FCD006-BABB-4ADC-8A6C-C167C48CE7A2}"/>
          </ac:spMkLst>
        </pc:spChg>
        <pc:spChg chg="add del mod">
          <ac:chgData name="Hirose, Shiro" userId="f20e18a8-7af5-4f6d-9d3b-64a621699742" providerId="ADAL" clId="{0E85948B-46C3-460E-BEC1-4C631B20080E}" dt="2022-05-12T20:48:55.680" v="1591" actId="478"/>
          <ac:spMkLst>
            <pc:docMk/>
            <pc:sldMk cId="2100827560" sldId="270"/>
            <ac:spMk id="52" creationId="{72E5D562-9A56-4F68-842D-323CE0BD4D87}"/>
          </ac:spMkLst>
        </pc:spChg>
        <pc:spChg chg="add mod ord">
          <ac:chgData name="Hirose, Shiro" userId="f20e18a8-7af5-4f6d-9d3b-64a621699742" providerId="ADAL" clId="{0E85948B-46C3-460E-BEC1-4C631B20080E}" dt="2022-05-13T07:49:38.541" v="3246" actId="1035"/>
          <ac:spMkLst>
            <pc:docMk/>
            <pc:sldMk cId="2100827560" sldId="270"/>
            <ac:spMk id="53" creationId="{EB37B69A-E2F0-4FA9-92F5-BE3F29A447C5}"/>
          </ac:spMkLst>
        </pc:spChg>
        <pc:spChg chg="add del mod">
          <ac:chgData name="Hirose, Shiro" userId="f20e18a8-7af5-4f6d-9d3b-64a621699742" providerId="ADAL" clId="{0E85948B-46C3-460E-BEC1-4C631B20080E}" dt="2022-05-12T20:49:41.865" v="1629" actId="478"/>
          <ac:spMkLst>
            <pc:docMk/>
            <pc:sldMk cId="2100827560" sldId="270"/>
            <ac:spMk id="54" creationId="{03F34155-86C1-4BF9-A906-AE09DC19DD55}"/>
          </ac:spMkLst>
        </pc:spChg>
        <pc:spChg chg="add del mod">
          <ac:chgData name="Hirose, Shiro" userId="f20e18a8-7af5-4f6d-9d3b-64a621699742" providerId="ADAL" clId="{0E85948B-46C3-460E-BEC1-4C631B20080E}" dt="2022-05-12T20:49:41.865" v="1629" actId="478"/>
          <ac:spMkLst>
            <pc:docMk/>
            <pc:sldMk cId="2100827560" sldId="270"/>
            <ac:spMk id="55" creationId="{B4EEF6E8-9869-4E06-8442-D89776DF154A}"/>
          </ac:spMkLst>
        </pc:spChg>
        <pc:spChg chg="add del mod">
          <ac:chgData name="Hirose, Shiro" userId="f20e18a8-7af5-4f6d-9d3b-64a621699742" providerId="ADAL" clId="{0E85948B-46C3-460E-BEC1-4C631B20080E}" dt="2022-05-12T20:49:41.865" v="1629" actId="478"/>
          <ac:spMkLst>
            <pc:docMk/>
            <pc:sldMk cId="2100827560" sldId="270"/>
            <ac:spMk id="56" creationId="{52009C3A-01C7-4F62-9FCA-EAA1F80AFABF}"/>
          </ac:spMkLst>
        </pc:spChg>
        <pc:spChg chg="add del mod">
          <ac:chgData name="Hirose, Shiro" userId="f20e18a8-7af5-4f6d-9d3b-64a621699742" providerId="ADAL" clId="{0E85948B-46C3-460E-BEC1-4C631B20080E}" dt="2022-05-12T20:49:41.865" v="1629" actId="478"/>
          <ac:spMkLst>
            <pc:docMk/>
            <pc:sldMk cId="2100827560" sldId="270"/>
            <ac:spMk id="57" creationId="{8DF162B5-B2A7-4DD4-A023-1D0566364A8C}"/>
          </ac:spMkLst>
        </pc:spChg>
        <pc:spChg chg="add del mod">
          <ac:chgData name="Hirose, Shiro" userId="f20e18a8-7af5-4f6d-9d3b-64a621699742" providerId="ADAL" clId="{0E85948B-46C3-460E-BEC1-4C631B20080E}" dt="2022-05-12T20:49:41.865" v="1629" actId="478"/>
          <ac:spMkLst>
            <pc:docMk/>
            <pc:sldMk cId="2100827560" sldId="270"/>
            <ac:spMk id="58" creationId="{08BBF10B-4E82-4F6E-9968-1C956436D41D}"/>
          </ac:spMkLst>
        </pc:spChg>
        <pc:spChg chg="add del mod">
          <ac:chgData name="Hirose, Shiro" userId="f20e18a8-7af5-4f6d-9d3b-64a621699742" providerId="ADAL" clId="{0E85948B-46C3-460E-BEC1-4C631B20080E}" dt="2022-05-12T20:49:41.865" v="1629" actId="478"/>
          <ac:spMkLst>
            <pc:docMk/>
            <pc:sldMk cId="2100827560" sldId="270"/>
            <ac:spMk id="59" creationId="{816A3A24-FC4C-41BF-A1C2-2F2828B3D2E4}"/>
          </ac:spMkLst>
        </pc:spChg>
        <pc:spChg chg="add del mod">
          <ac:chgData name="Hirose, Shiro" userId="f20e18a8-7af5-4f6d-9d3b-64a621699742" providerId="ADAL" clId="{0E85948B-46C3-460E-BEC1-4C631B20080E}" dt="2022-05-12T20:49:41.865" v="1629" actId="478"/>
          <ac:spMkLst>
            <pc:docMk/>
            <pc:sldMk cId="2100827560" sldId="270"/>
            <ac:spMk id="60" creationId="{284C0A05-FF12-46AE-8C08-B3E2E68A3C6D}"/>
          </ac:spMkLst>
        </pc:spChg>
        <pc:spChg chg="add del mod">
          <ac:chgData name="Hirose, Shiro" userId="f20e18a8-7af5-4f6d-9d3b-64a621699742" providerId="ADAL" clId="{0E85948B-46C3-460E-BEC1-4C631B20080E}" dt="2022-05-12T20:49:41.865" v="1629" actId="478"/>
          <ac:spMkLst>
            <pc:docMk/>
            <pc:sldMk cId="2100827560" sldId="270"/>
            <ac:spMk id="61" creationId="{A7B787EF-47FF-4E6B-B70C-D7C98C61D3D3}"/>
          </ac:spMkLst>
        </pc:spChg>
        <pc:spChg chg="add del mod">
          <ac:chgData name="Hirose, Shiro" userId="f20e18a8-7af5-4f6d-9d3b-64a621699742" providerId="ADAL" clId="{0E85948B-46C3-460E-BEC1-4C631B20080E}" dt="2022-05-12T20:49:41.865" v="1629" actId="478"/>
          <ac:spMkLst>
            <pc:docMk/>
            <pc:sldMk cId="2100827560" sldId="270"/>
            <ac:spMk id="62" creationId="{68B2202B-F7B6-4E7B-BAC5-F67432815386}"/>
          </ac:spMkLst>
        </pc:spChg>
        <pc:spChg chg="add del mod">
          <ac:chgData name="Hirose, Shiro" userId="f20e18a8-7af5-4f6d-9d3b-64a621699742" providerId="ADAL" clId="{0E85948B-46C3-460E-BEC1-4C631B20080E}" dt="2022-05-12T20:49:41.865" v="1629" actId="478"/>
          <ac:spMkLst>
            <pc:docMk/>
            <pc:sldMk cId="2100827560" sldId="270"/>
            <ac:spMk id="63" creationId="{ADF3949A-2066-4A2D-883C-3644D7A7D44B}"/>
          </ac:spMkLst>
        </pc:spChg>
        <pc:spChg chg="add del mod">
          <ac:chgData name="Hirose, Shiro" userId="f20e18a8-7af5-4f6d-9d3b-64a621699742" providerId="ADAL" clId="{0E85948B-46C3-460E-BEC1-4C631B20080E}" dt="2022-05-12T20:49:41.865" v="1629" actId="478"/>
          <ac:spMkLst>
            <pc:docMk/>
            <pc:sldMk cId="2100827560" sldId="270"/>
            <ac:spMk id="64" creationId="{39700A12-7E25-4B0F-9CCD-DA96A8F890DB}"/>
          </ac:spMkLst>
        </pc:spChg>
        <pc:spChg chg="add del mod">
          <ac:chgData name="Hirose, Shiro" userId="f20e18a8-7af5-4f6d-9d3b-64a621699742" providerId="ADAL" clId="{0E85948B-46C3-460E-BEC1-4C631B20080E}" dt="2022-05-12T20:49:41.865" v="1629" actId="478"/>
          <ac:spMkLst>
            <pc:docMk/>
            <pc:sldMk cId="2100827560" sldId="270"/>
            <ac:spMk id="65" creationId="{D8CD7B82-D9AB-4FA3-86A3-1AD393883759}"/>
          </ac:spMkLst>
        </pc:spChg>
        <pc:spChg chg="add del mod">
          <ac:chgData name="Hirose, Shiro" userId="f20e18a8-7af5-4f6d-9d3b-64a621699742" providerId="ADAL" clId="{0E85948B-46C3-460E-BEC1-4C631B20080E}" dt="2022-05-12T20:49:41.865" v="1629" actId="478"/>
          <ac:spMkLst>
            <pc:docMk/>
            <pc:sldMk cId="2100827560" sldId="270"/>
            <ac:spMk id="66" creationId="{54C679F5-2852-45C6-BC35-903A8C7A8DE6}"/>
          </ac:spMkLst>
        </pc:spChg>
        <pc:spChg chg="add del mod">
          <ac:chgData name="Hirose, Shiro" userId="f20e18a8-7af5-4f6d-9d3b-64a621699742" providerId="ADAL" clId="{0E85948B-46C3-460E-BEC1-4C631B20080E}" dt="2022-05-12T20:49:41.865" v="1629" actId="478"/>
          <ac:spMkLst>
            <pc:docMk/>
            <pc:sldMk cId="2100827560" sldId="270"/>
            <ac:spMk id="67" creationId="{8FA4D19E-EEFB-49DF-88AE-00A92DFCCD0C}"/>
          </ac:spMkLst>
        </pc:spChg>
        <pc:spChg chg="add del mod">
          <ac:chgData name="Hirose, Shiro" userId="f20e18a8-7af5-4f6d-9d3b-64a621699742" providerId="ADAL" clId="{0E85948B-46C3-460E-BEC1-4C631B20080E}" dt="2022-05-12T20:49:41.865" v="1629" actId="478"/>
          <ac:spMkLst>
            <pc:docMk/>
            <pc:sldMk cId="2100827560" sldId="270"/>
            <ac:spMk id="68" creationId="{61E8B9DD-1826-435B-93EA-72D8D2477B22}"/>
          </ac:spMkLst>
        </pc:spChg>
        <pc:spChg chg="mod">
          <ac:chgData name="Hirose, Shiro" userId="f20e18a8-7af5-4f6d-9d3b-64a621699742" providerId="ADAL" clId="{0E85948B-46C3-460E-BEC1-4C631B20080E}" dt="2022-05-13T07:49:10.240" v="3216" actId="255"/>
          <ac:spMkLst>
            <pc:docMk/>
            <pc:sldMk cId="2100827560" sldId="270"/>
            <ac:spMk id="70" creationId="{06EBCB41-7E24-42F0-8CD8-79D7CB3C066B}"/>
          </ac:spMkLst>
        </pc:spChg>
        <pc:spChg chg="mod">
          <ac:chgData name="Hirose, Shiro" userId="f20e18a8-7af5-4f6d-9d3b-64a621699742" providerId="ADAL" clId="{0E85948B-46C3-460E-BEC1-4C631B20080E}" dt="2022-05-13T07:49:10.240" v="3216" actId="255"/>
          <ac:spMkLst>
            <pc:docMk/>
            <pc:sldMk cId="2100827560" sldId="270"/>
            <ac:spMk id="71" creationId="{1F2A39E6-1973-4E73-8577-34E942BD0519}"/>
          </ac:spMkLst>
        </pc:spChg>
        <pc:spChg chg="mod">
          <ac:chgData name="Hirose, Shiro" userId="f20e18a8-7af5-4f6d-9d3b-64a621699742" providerId="ADAL" clId="{0E85948B-46C3-460E-BEC1-4C631B20080E}" dt="2022-05-13T07:49:10.240" v="3216" actId="255"/>
          <ac:spMkLst>
            <pc:docMk/>
            <pc:sldMk cId="2100827560" sldId="270"/>
            <ac:spMk id="72" creationId="{49509DBE-CB7A-4381-8CAC-EB55C1F5821C}"/>
          </ac:spMkLst>
        </pc:spChg>
        <pc:spChg chg="mod">
          <ac:chgData name="Hirose, Shiro" userId="f20e18a8-7af5-4f6d-9d3b-64a621699742" providerId="ADAL" clId="{0E85948B-46C3-460E-BEC1-4C631B20080E}" dt="2022-05-13T07:49:10.240" v="3216" actId="255"/>
          <ac:spMkLst>
            <pc:docMk/>
            <pc:sldMk cId="2100827560" sldId="270"/>
            <ac:spMk id="73" creationId="{82B9EF49-1BA0-49FA-9560-6BC2D230E4E5}"/>
          </ac:spMkLst>
        </pc:spChg>
        <pc:spChg chg="mod">
          <ac:chgData name="Hirose, Shiro" userId="f20e18a8-7af5-4f6d-9d3b-64a621699742" providerId="ADAL" clId="{0E85948B-46C3-460E-BEC1-4C631B20080E}" dt="2022-05-13T07:49:10.240" v="3216" actId="255"/>
          <ac:spMkLst>
            <pc:docMk/>
            <pc:sldMk cId="2100827560" sldId="270"/>
            <ac:spMk id="74" creationId="{92999976-302D-4694-8509-44F2B89AE767}"/>
          </ac:spMkLst>
        </pc:spChg>
        <pc:spChg chg="mod">
          <ac:chgData name="Hirose, Shiro" userId="f20e18a8-7af5-4f6d-9d3b-64a621699742" providerId="ADAL" clId="{0E85948B-46C3-460E-BEC1-4C631B20080E}" dt="2022-05-13T07:49:10.240" v="3216" actId="255"/>
          <ac:spMkLst>
            <pc:docMk/>
            <pc:sldMk cId="2100827560" sldId="270"/>
            <ac:spMk id="75" creationId="{DC88498C-64DA-4527-9ED4-2B894D77A4C0}"/>
          </ac:spMkLst>
        </pc:spChg>
        <pc:spChg chg="mod">
          <ac:chgData name="Hirose, Shiro" userId="f20e18a8-7af5-4f6d-9d3b-64a621699742" providerId="ADAL" clId="{0E85948B-46C3-460E-BEC1-4C631B20080E}" dt="2022-05-13T07:49:10.240" v="3216" actId="255"/>
          <ac:spMkLst>
            <pc:docMk/>
            <pc:sldMk cId="2100827560" sldId="270"/>
            <ac:spMk id="76" creationId="{445E247E-4EB8-493A-A862-9380C92FE59C}"/>
          </ac:spMkLst>
        </pc:spChg>
        <pc:spChg chg="mod">
          <ac:chgData name="Hirose, Shiro" userId="f20e18a8-7af5-4f6d-9d3b-64a621699742" providerId="ADAL" clId="{0E85948B-46C3-460E-BEC1-4C631B20080E}" dt="2022-05-13T07:49:10.240" v="3216" actId="255"/>
          <ac:spMkLst>
            <pc:docMk/>
            <pc:sldMk cId="2100827560" sldId="270"/>
            <ac:spMk id="77" creationId="{8AF52F84-70DC-4380-A66D-C0BA01E27C2F}"/>
          </ac:spMkLst>
        </pc:spChg>
        <pc:spChg chg="mod">
          <ac:chgData name="Hirose, Shiro" userId="f20e18a8-7af5-4f6d-9d3b-64a621699742" providerId="ADAL" clId="{0E85948B-46C3-460E-BEC1-4C631B20080E}" dt="2022-05-13T07:49:10.240" v="3216" actId="255"/>
          <ac:spMkLst>
            <pc:docMk/>
            <pc:sldMk cId="2100827560" sldId="270"/>
            <ac:spMk id="78" creationId="{52FDD558-49CA-41C8-B3C9-B912322F8FF9}"/>
          </ac:spMkLst>
        </pc:spChg>
        <pc:spChg chg="mod">
          <ac:chgData name="Hirose, Shiro" userId="f20e18a8-7af5-4f6d-9d3b-64a621699742" providerId="ADAL" clId="{0E85948B-46C3-460E-BEC1-4C631B20080E}" dt="2022-05-13T07:49:10.240" v="3216" actId="255"/>
          <ac:spMkLst>
            <pc:docMk/>
            <pc:sldMk cId="2100827560" sldId="270"/>
            <ac:spMk id="79" creationId="{BB58BDD3-CD73-4405-B755-F4EC4376FDA8}"/>
          </ac:spMkLst>
        </pc:spChg>
        <pc:spChg chg="mod">
          <ac:chgData name="Hirose, Shiro" userId="f20e18a8-7af5-4f6d-9d3b-64a621699742" providerId="ADAL" clId="{0E85948B-46C3-460E-BEC1-4C631B20080E}" dt="2022-05-13T07:49:10.240" v="3216" actId="255"/>
          <ac:spMkLst>
            <pc:docMk/>
            <pc:sldMk cId="2100827560" sldId="270"/>
            <ac:spMk id="80" creationId="{06436C7D-5D37-4137-9123-CD4E38AF3D7B}"/>
          </ac:spMkLst>
        </pc:spChg>
        <pc:spChg chg="mod">
          <ac:chgData name="Hirose, Shiro" userId="f20e18a8-7af5-4f6d-9d3b-64a621699742" providerId="ADAL" clId="{0E85948B-46C3-460E-BEC1-4C631B20080E}" dt="2022-05-13T07:49:10.240" v="3216" actId="255"/>
          <ac:spMkLst>
            <pc:docMk/>
            <pc:sldMk cId="2100827560" sldId="270"/>
            <ac:spMk id="81" creationId="{9BE76463-CBFA-4F91-9AF9-CE551224CAC0}"/>
          </ac:spMkLst>
        </pc:spChg>
        <pc:spChg chg="mod">
          <ac:chgData name="Hirose, Shiro" userId="f20e18a8-7af5-4f6d-9d3b-64a621699742" providerId="ADAL" clId="{0E85948B-46C3-460E-BEC1-4C631B20080E}" dt="2022-05-13T07:49:10.240" v="3216" actId="255"/>
          <ac:spMkLst>
            <pc:docMk/>
            <pc:sldMk cId="2100827560" sldId="270"/>
            <ac:spMk id="82" creationId="{56C6A166-4153-4ABF-A36E-14FA6A0AFDCC}"/>
          </ac:spMkLst>
        </pc:spChg>
        <pc:spChg chg="mod">
          <ac:chgData name="Hirose, Shiro" userId="f20e18a8-7af5-4f6d-9d3b-64a621699742" providerId="ADAL" clId="{0E85948B-46C3-460E-BEC1-4C631B20080E}" dt="2022-05-13T07:49:10.240" v="3216" actId="255"/>
          <ac:spMkLst>
            <pc:docMk/>
            <pc:sldMk cId="2100827560" sldId="270"/>
            <ac:spMk id="83" creationId="{198DF66E-597F-47DE-9411-8A1A5F579D38}"/>
          </ac:spMkLst>
        </pc:spChg>
        <pc:spChg chg="mod">
          <ac:chgData name="Hirose, Shiro" userId="f20e18a8-7af5-4f6d-9d3b-64a621699742" providerId="ADAL" clId="{0E85948B-46C3-460E-BEC1-4C631B20080E}" dt="2022-05-13T07:49:10.240" v="3216" actId="255"/>
          <ac:spMkLst>
            <pc:docMk/>
            <pc:sldMk cId="2100827560" sldId="270"/>
            <ac:spMk id="84" creationId="{E265EAB1-818A-44C2-AD02-1BA0F9F0189D}"/>
          </ac:spMkLst>
        </pc:spChg>
        <pc:spChg chg="add mod ord topLvl">
          <ac:chgData name="Hirose, Shiro" userId="f20e18a8-7af5-4f6d-9d3b-64a621699742" providerId="ADAL" clId="{0E85948B-46C3-460E-BEC1-4C631B20080E}" dt="2022-05-13T07:49:15.276" v="3217" actId="164"/>
          <ac:spMkLst>
            <pc:docMk/>
            <pc:sldMk cId="2100827560" sldId="270"/>
            <ac:spMk id="85" creationId="{C3ABE05C-1611-4B96-B9C6-4FEB62DFA14D}"/>
          </ac:spMkLst>
        </pc:spChg>
        <pc:spChg chg="add mod ord">
          <ac:chgData name="Hirose, Shiro" userId="f20e18a8-7af5-4f6d-9d3b-64a621699742" providerId="ADAL" clId="{0E85948B-46C3-460E-BEC1-4C631B20080E}" dt="2022-05-13T07:49:51.098" v="3247" actId="14100"/>
          <ac:spMkLst>
            <pc:docMk/>
            <pc:sldMk cId="2100827560" sldId="270"/>
            <ac:spMk id="86" creationId="{3474E380-5242-44C7-8564-ED619AEFEA9F}"/>
          </ac:spMkLst>
        </pc:spChg>
        <pc:grpChg chg="add mod">
          <ac:chgData name="Hirose, Shiro" userId="f20e18a8-7af5-4f6d-9d3b-64a621699742" providerId="ADAL" clId="{0E85948B-46C3-460E-BEC1-4C631B20080E}" dt="2022-05-13T07:49:20.670" v="3219" actId="14100"/>
          <ac:grpSpMkLst>
            <pc:docMk/>
            <pc:sldMk cId="2100827560" sldId="270"/>
            <ac:grpSpMk id="2" creationId="{6F8BD9EE-C54E-4CEF-836D-DB2A07ABD0C4}"/>
          </ac:grpSpMkLst>
        </pc:grpChg>
        <pc:grpChg chg="add mod ord topLvl">
          <ac:chgData name="Hirose, Shiro" userId="f20e18a8-7af5-4f6d-9d3b-64a621699742" providerId="ADAL" clId="{0E85948B-46C3-460E-BEC1-4C631B20080E}" dt="2022-05-13T07:49:15.276" v="3217" actId="164"/>
          <ac:grpSpMkLst>
            <pc:docMk/>
            <pc:sldMk cId="2100827560" sldId="270"/>
            <ac:grpSpMk id="3" creationId="{6CA04A76-AFB5-4C72-B1D1-B11B91FF0DDB}"/>
          </ac:grpSpMkLst>
        </pc:grpChg>
        <pc:grpChg chg="add del mod">
          <ac:chgData name="Hirose, Shiro" userId="f20e18a8-7af5-4f6d-9d3b-64a621699742" providerId="ADAL" clId="{0E85948B-46C3-460E-BEC1-4C631B20080E}" dt="2022-05-13T07:31:55.681" v="3159" actId="165"/>
          <ac:grpSpMkLst>
            <pc:docMk/>
            <pc:sldMk cId="2100827560" sldId="270"/>
            <ac:grpSpMk id="4" creationId="{ED732F83-F337-47AE-B929-28F6D02B2758}"/>
          </ac:grpSpMkLst>
        </pc:grpChg>
        <pc:grpChg chg="add mod ord topLvl">
          <ac:chgData name="Hirose, Shiro" userId="f20e18a8-7af5-4f6d-9d3b-64a621699742" providerId="ADAL" clId="{0E85948B-46C3-460E-BEC1-4C631B20080E}" dt="2022-05-13T07:49:15.276" v="3217" actId="164"/>
          <ac:grpSpMkLst>
            <pc:docMk/>
            <pc:sldMk cId="2100827560" sldId="270"/>
            <ac:grpSpMk id="69" creationId="{727348A4-DDFC-44E5-99B4-7E169045F8ED}"/>
          </ac:grpSpMkLst>
        </pc:grpChg>
        <pc:graphicFrameChg chg="del mod">
          <ac:chgData name="Hirose, Shiro" userId="f20e18a8-7af5-4f6d-9d3b-64a621699742" providerId="ADAL" clId="{0E85948B-46C3-460E-BEC1-4C631B20080E}" dt="2022-05-12T20:49:07.370" v="1612" actId="478"/>
          <ac:graphicFrameMkLst>
            <pc:docMk/>
            <pc:sldMk cId="2100827560" sldId="270"/>
            <ac:graphicFrameMk id="2" creationId="{3BE559DC-6D0D-42DE-9085-6047BCFB4DA4}"/>
          </ac:graphicFrameMkLst>
        </pc:graphicFrameChg>
        <pc:graphicFrameChg chg="mod">
          <ac:chgData name="Hirose, Shiro" userId="f20e18a8-7af5-4f6d-9d3b-64a621699742" providerId="ADAL" clId="{0E85948B-46C3-460E-BEC1-4C631B20080E}" dt="2022-05-12T20:55:44.394" v="2160"/>
          <ac:graphicFrameMkLst>
            <pc:docMk/>
            <pc:sldMk cId="2100827560" sldId="270"/>
            <ac:graphicFrameMk id="21" creationId="{93BCE60D-7B0A-4C00-A422-1D92BE73F43C}"/>
          </ac:graphicFrameMkLst>
        </pc:graphicFrameChg>
        <pc:cxnChg chg="mod ord">
          <ac:chgData name="Hirose, Shiro" userId="f20e18a8-7af5-4f6d-9d3b-64a621699742" providerId="ADAL" clId="{0E85948B-46C3-460E-BEC1-4C631B20080E}" dt="2022-05-12T20:55:44.385" v="2138"/>
          <ac:cxnSpMkLst>
            <pc:docMk/>
            <pc:sldMk cId="2100827560" sldId="270"/>
            <ac:cxnSpMk id="18" creationId="{00000000-0000-0000-0000-000000000000}"/>
          </ac:cxnSpMkLst>
        </pc:cxnChg>
      </pc:sldChg>
      <pc:sldChg chg="del">
        <pc:chgData name="Hirose, Shiro" userId="f20e18a8-7af5-4f6d-9d3b-64a621699742" providerId="ADAL" clId="{0E85948B-46C3-460E-BEC1-4C631B20080E}" dt="2022-05-12T20:16:48.750" v="91" actId="47"/>
        <pc:sldMkLst>
          <pc:docMk/>
          <pc:sldMk cId="20619356" sldId="271"/>
        </pc:sldMkLst>
      </pc:sldChg>
      <pc:sldChg chg="addSp delSp modSp add mod">
        <pc:chgData name="Hirose, Shiro" userId="f20e18a8-7af5-4f6d-9d3b-64a621699742" providerId="ADAL" clId="{0E85948B-46C3-460E-BEC1-4C631B20080E}" dt="2022-05-13T04:05:20.900" v="2824" actId="20577"/>
        <pc:sldMkLst>
          <pc:docMk/>
          <pc:sldMk cId="1018731626" sldId="271"/>
        </pc:sldMkLst>
        <pc:spChg chg="mod">
          <ac:chgData name="Hirose, Shiro" userId="f20e18a8-7af5-4f6d-9d3b-64a621699742" providerId="ADAL" clId="{0E85948B-46C3-460E-BEC1-4C631B20080E}" dt="2022-05-13T04:05:20.900" v="2824" actId="20577"/>
          <ac:spMkLst>
            <pc:docMk/>
            <pc:sldMk cId="1018731626" sldId="271"/>
            <ac:spMk id="7" creationId="{00000000-0000-0000-0000-000000000000}"/>
          </ac:spMkLst>
        </pc:spChg>
        <pc:spChg chg="del">
          <ac:chgData name="Hirose, Shiro" userId="f20e18a8-7af5-4f6d-9d3b-64a621699742" providerId="ADAL" clId="{0E85948B-46C3-460E-BEC1-4C631B20080E}" dt="2022-05-12T21:04:36.424" v="2506" actId="478"/>
          <ac:spMkLst>
            <pc:docMk/>
            <pc:sldMk cId="1018731626" sldId="271"/>
            <ac:spMk id="19" creationId="{4F4A3C5B-40E7-4D3A-ABEA-9C89EA30DBFB}"/>
          </ac:spMkLst>
        </pc:spChg>
        <pc:spChg chg="add mod">
          <ac:chgData name="Hirose, Shiro" userId="f20e18a8-7af5-4f6d-9d3b-64a621699742" providerId="ADAL" clId="{0E85948B-46C3-460E-BEC1-4C631B20080E}" dt="2022-05-12T21:07:57.935" v="2776" actId="14100"/>
          <ac:spMkLst>
            <pc:docMk/>
            <pc:sldMk cId="1018731626" sldId="271"/>
            <ac:spMk id="52" creationId="{8E12845A-3A64-466A-88FC-C2F5FA61F531}"/>
          </ac:spMkLst>
        </pc:spChg>
        <pc:spChg chg="mod">
          <ac:chgData name="Hirose, Shiro" userId="f20e18a8-7af5-4f6d-9d3b-64a621699742" providerId="ADAL" clId="{0E85948B-46C3-460E-BEC1-4C631B20080E}" dt="2022-05-12T21:06:59.699" v="2605" actId="20577"/>
          <ac:spMkLst>
            <pc:docMk/>
            <pc:sldMk cId="1018731626" sldId="271"/>
            <ac:spMk id="53" creationId="{EB37B69A-E2F0-4FA9-92F5-BE3F29A447C5}"/>
          </ac:spMkLst>
        </pc:spChg>
        <pc:spChg chg="mod">
          <ac:chgData name="Hirose, Shiro" userId="f20e18a8-7af5-4f6d-9d3b-64a621699742" providerId="ADAL" clId="{0E85948B-46C3-460E-BEC1-4C631B20080E}" dt="2022-05-12T21:08:25.179" v="2780"/>
          <ac:spMkLst>
            <pc:docMk/>
            <pc:sldMk cId="1018731626" sldId="271"/>
            <ac:spMk id="61" creationId="{4697BD4E-A983-42DD-B53D-C7CAE6AFFF06}"/>
          </ac:spMkLst>
        </pc:spChg>
        <pc:spChg chg="mod">
          <ac:chgData name="Hirose, Shiro" userId="f20e18a8-7af5-4f6d-9d3b-64a621699742" providerId="ADAL" clId="{0E85948B-46C3-460E-BEC1-4C631B20080E}" dt="2022-05-12T21:08:25.179" v="2780"/>
          <ac:spMkLst>
            <pc:docMk/>
            <pc:sldMk cId="1018731626" sldId="271"/>
            <ac:spMk id="62" creationId="{45E9E334-CF9B-4DB1-B978-63EA40C5D0A2}"/>
          </ac:spMkLst>
        </pc:spChg>
        <pc:spChg chg="mod">
          <ac:chgData name="Hirose, Shiro" userId="f20e18a8-7af5-4f6d-9d3b-64a621699742" providerId="ADAL" clId="{0E85948B-46C3-460E-BEC1-4C631B20080E}" dt="2022-05-12T21:08:25.179" v="2780"/>
          <ac:spMkLst>
            <pc:docMk/>
            <pc:sldMk cId="1018731626" sldId="271"/>
            <ac:spMk id="63" creationId="{778E8CE3-9215-4974-9C13-7E37652C2EA7}"/>
          </ac:spMkLst>
        </pc:spChg>
        <pc:spChg chg="mod">
          <ac:chgData name="Hirose, Shiro" userId="f20e18a8-7af5-4f6d-9d3b-64a621699742" providerId="ADAL" clId="{0E85948B-46C3-460E-BEC1-4C631B20080E}" dt="2022-05-12T21:08:47.061" v="2810" actId="20577"/>
          <ac:spMkLst>
            <pc:docMk/>
            <pc:sldMk cId="1018731626" sldId="271"/>
            <ac:spMk id="65" creationId="{96E6FD1E-3D04-4F68-AB7E-89E2B78B3648}"/>
          </ac:spMkLst>
        </pc:spChg>
        <pc:spChg chg="mod">
          <ac:chgData name="Hirose, Shiro" userId="f20e18a8-7af5-4f6d-9d3b-64a621699742" providerId="ADAL" clId="{0E85948B-46C3-460E-BEC1-4C631B20080E}" dt="2022-05-12T21:08:25.179" v="2780"/>
          <ac:spMkLst>
            <pc:docMk/>
            <pc:sldMk cId="1018731626" sldId="271"/>
            <ac:spMk id="66" creationId="{D725A017-A13A-429B-8DA9-E827A46AF90A}"/>
          </ac:spMkLst>
        </pc:spChg>
        <pc:spChg chg="mod">
          <ac:chgData name="Hirose, Shiro" userId="f20e18a8-7af5-4f6d-9d3b-64a621699742" providerId="ADAL" clId="{0E85948B-46C3-460E-BEC1-4C631B20080E}" dt="2022-05-12T21:08:25.179" v="2780"/>
          <ac:spMkLst>
            <pc:docMk/>
            <pc:sldMk cId="1018731626" sldId="271"/>
            <ac:spMk id="67" creationId="{A73C8D4F-3453-4145-B76C-E136AC671267}"/>
          </ac:spMkLst>
        </pc:spChg>
        <pc:spChg chg="mod">
          <ac:chgData name="Hirose, Shiro" userId="f20e18a8-7af5-4f6d-9d3b-64a621699742" providerId="ADAL" clId="{0E85948B-46C3-460E-BEC1-4C631B20080E}" dt="2022-05-12T21:08:54.021" v="2820" actId="20577"/>
          <ac:spMkLst>
            <pc:docMk/>
            <pc:sldMk cId="1018731626" sldId="271"/>
            <ac:spMk id="68" creationId="{14D4CEF5-B3C6-4B0D-9D98-EFABF12E2BD3}"/>
          </ac:spMkLst>
        </pc:spChg>
        <pc:spChg chg="mod">
          <ac:chgData name="Hirose, Shiro" userId="f20e18a8-7af5-4f6d-9d3b-64a621699742" providerId="ADAL" clId="{0E85948B-46C3-460E-BEC1-4C631B20080E}" dt="2022-05-12T21:08:18.713" v="2779" actId="20577"/>
          <ac:spMkLst>
            <pc:docMk/>
            <pc:sldMk cId="1018731626" sldId="271"/>
            <ac:spMk id="86" creationId="{3474E380-5242-44C7-8564-ED619AEFEA9F}"/>
          </ac:spMkLst>
        </pc:spChg>
        <pc:spChg chg="mod">
          <ac:chgData name="Hirose, Shiro" userId="f20e18a8-7af5-4f6d-9d3b-64a621699742" providerId="ADAL" clId="{0E85948B-46C3-460E-BEC1-4C631B20080E}" dt="2022-05-12T21:08:25.179" v="2780"/>
          <ac:spMkLst>
            <pc:docMk/>
            <pc:sldMk cId="1018731626" sldId="271"/>
            <ac:spMk id="87" creationId="{B12EC13A-30B9-4FB3-B46E-E4994C91B3B9}"/>
          </ac:spMkLst>
        </pc:spChg>
        <pc:spChg chg="mod">
          <ac:chgData name="Hirose, Shiro" userId="f20e18a8-7af5-4f6d-9d3b-64a621699742" providerId="ADAL" clId="{0E85948B-46C3-460E-BEC1-4C631B20080E}" dt="2022-05-12T21:08:43.998" v="2808" actId="20577"/>
          <ac:spMkLst>
            <pc:docMk/>
            <pc:sldMk cId="1018731626" sldId="271"/>
            <ac:spMk id="88" creationId="{AF63CC23-895F-49DA-8940-A4C7DAB2F003}"/>
          </ac:spMkLst>
        </pc:spChg>
        <pc:spChg chg="mod">
          <ac:chgData name="Hirose, Shiro" userId="f20e18a8-7af5-4f6d-9d3b-64a621699742" providerId="ADAL" clId="{0E85948B-46C3-460E-BEC1-4C631B20080E}" dt="2022-05-12T21:08:25.179" v="2780"/>
          <ac:spMkLst>
            <pc:docMk/>
            <pc:sldMk cId="1018731626" sldId="271"/>
            <ac:spMk id="89" creationId="{20E58333-6CC4-4448-A947-83957AAA90BA}"/>
          </ac:spMkLst>
        </pc:spChg>
        <pc:spChg chg="mod">
          <ac:chgData name="Hirose, Shiro" userId="f20e18a8-7af5-4f6d-9d3b-64a621699742" providerId="ADAL" clId="{0E85948B-46C3-460E-BEC1-4C631B20080E}" dt="2022-05-12T21:08:40.038" v="2798" actId="20577"/>
          <ac:spMkLst>
            <pc:docMk/>
            <pc:sldMk cId="1018731626" sldId="271"/>
            <ac:spMk id="90" creationId="{7C996AEE-9C80-4A54-A41C-7DF74DF285D7}"/>
          </ac:spMkLst>
        </pc:spChg>
        <pc:spChg chg="mod">
          <ac:chgData name="Hirose, Shiro" userId="f20e18a8-7af5-4f6d-9d3b-64a621699742" providerId="ADAL" clId="{0E85948B-46C3-460E-BEC1-4C631B20080E}" dt="2022-05-12T21:08:25.179" v="2780"/>
          <ac:spMkLst>
            <pc:docMk/>
            <pc:sldMk cId="1018731626" sldId="271"/>
            <ac:spMk id="91" creationId="{79D543E0-6A8C-44FB-BA3E-C3423B1EBFEC}"/>
          </ac:spMkLst>
        </pc:spChg>
        <pc:grpChg chg="del">
          <ac:chgData name="Hirose, Shiro" userId="f20e18a8-7af5-4f6d-9d3b-64a621699742" providerId="ADAL" clId="{0E85948B-46C3-460E-BEC1-4C631B20080E}" dt="2022-05-12T21:04:36.424" v="2506" actId="478"/>
          <ac:grpSpMkLst>
            <pc:docMk/>
            <pc:sldMk cId="1018731626" sldId="271"/>
            <ac:grpSpMk id="4" creationId="{ED732F83-F337-47AE-B929-28F6D02B2758}"/>
          </ac:grpSpMkLst>
        </pc:grpChg>
        <pc:grpChg chg="add mod">
          <ac:chgData name="Hirose, Shiro" userId="f20e18a8-7af5-4f6d-9d3b-64a621699742" providerId="ADAL" clId="{0E85948B-46C3-460E-BEC1-4C631B20080E}" dt="2022-05-12T21:08:29.242" v="2781" actId="1076"/>
          <ac:grpSpMkLst>
            <pc:docMk/>
            <pc:sldMk cId="1018731626" sldId="271"/>
            <ac:grpSpMk id="54" creationId="{6A9A5706-258D-4D62-A2B3-15B5839B73C8}"/>
          </ac:grpSpMkLst>
        </pc:grpChg>
        <pc:grpChg chg="mod">
          <ac:chgData name="Hirose, Shiro" userId="f20e18a8-7af5-4f6d-9d3b-64a621699742" providerId="ADAL" clId="{0E85948B-46C3-460E-BEC1-4C631B20080E}" dt="2022-05-12T21:08:25.179" v="2780"/>
          <ac:grpSpMkLst>
            <pc:docMk/>
            <pc:sldMk cId="1018731626" sldId="271"/>
            <ac:grpSpMk id="58" creationId="{04AA7EFF-2DB2-4637-8503-760DEA2EFAAD}"/>
          </ac:grpSpMkLst>
        </pc:grpChg>
        <pc:grpChg chg="mod">
          <ac:chgData name="Hirose, Shiro" userId="f20e18a8-7af5-4f6d-9d3b-64a621699742" providerId="ADAL" clId="{0E85948B-46C3-460E-BEC1-4C631B20080E}" dt="2022-05-12T21:08:25.179" v="2780"/>
          <ac:grpSpMkLst>
            <pc:docMk/>
            <pc:sldMk cId="1018731626" sldId="271"/>
            <ac:grpSpMk id="59" creationId="{B1C9AE6A-B454-4B94-AEB1-235C613D04E3}"/>
          </ac:grpSpMkLst>
        </pc:grpChg>
        <pc:grpChg chg="mod">
          <ac:chgData name="Hirose, Shiro" userId="f20e18a8-7af5-4f6d-9d3b-64a621699742" providerId="ADAL" clId="{0E85948B-46C3-460E-BEC1-4C631B20080E}" dt="2022-05-12T21:08:25.179" v="2780"/>
          <ac:grpSpMkLst>
            <pc:docMk/>
            <pc:sldMk cId="1018731626" sldId="271"/>
            <ac:grpSpMk id="60" creationId="{3196D7AA-5E7B-416F-BEED-04EF4E7D5A1C}"/>
          </ac:grpSpMkLst>
        </pc:grpChg>
        <pc:grpChg chg="mod">
          <ac:chgData name="Hirose, Shiro" userId="f20e18a8-7af5-4f6d-9d3b-64a621699742" providerId="ADAL" clId="{0E85948B-46C3-460E-BEC1-4C631B20080E}" dt="2022-05-12T21:08:25.179" v="2780"/>
          <ac:grpSpMkLst>
            <pc:docMk/>
            <pc:sldMk cId="1018731626" sldId="271"/>
            <ac:grpSpMk id="64" creationId="{83CAA91F-D2AC-4FCA-8D4B-A751B10968CE}"/>
          </ac:grpSpMkLst>
        </pc:grpChg>
        <pc:cxnChg chg="mod">
          <ac:chgData name="Hirose, Shiro" userId="f20e18a8-7af5-4f6d-9d3b-64a621699742" providerId="ADAL" clId="{0E85948B-46C3-460E-BEC1-4C631B20080E}" dt="2022-05-12T21:08:25.179" v="2780"/>
          <ac:cxnSpMkLst>
            <pc:docMk/>
            <pc:sldMk cId="1018731626" sldId="271"/>
            <ac:cxnSpMk id="55" creationId="{2CA35437-5DF9-4519-A04E-E603362AF5C6}"/>
          </ac:cxnSpMkLst>
        </pc:cxnChg>
        <pc:cxnChg chg="mod">
          <ac:chgData name="Hirose, Shiro" userId="f20e18a8-7af5-4f6d-9d3b-64a621699742" providerId="ADAL" clId="{0E85948B-46C3-460E-BEC1-4C631B20080E}" dt="2022-05-12T21:08:25.179" v="2780"/>
          <ac:cxnSpMkLst>
            <pc:docMk/>
            <pc:sldMk cId="1018731626" sldId="271"/>
            <ac:cxnSpMk id="56" creationId="{F55CB104-C2BC-47C8-9386-5F4EF82C7353}"/>
          </ac:cxnSpMkLst>
        </pc:cxnChg>
        <pc:cxnChg chg="mod">
          <ac:chgData name="Hirose, Shiro" userId="f20e18a8-7af5-4f6d-9d3b-64a621699742" providerId="ADAL" clId="{0E85948B-46C3-460E-BEC1-4C631B20080E}" dt="2022-05-12T21:08:25.179" v="2780"/>
          <ac:cxnSpMkLst>
            <pc:docMk/>
            <pc:sldMk cId="1018731626" sldId="271"/>
            <ac:cxnSpMk id="57" creationId="{D3F43549-9CE7-450D-996E-91F84EDCABB6}"/>
          </ac:cxnSpMkLst>
        </pc:cxnChg>
      </pc:sldChg>
      <pc:sldChg chg="addSp delSp modSp add mod">
        <pc:chgData name="Hirose, Shiro" userId="f20e18a8-7af5-4f6d-9d3b-64a621699742" providerId="ADAL" clId="{0E85948B-46C3-460E-BEC1-4C631B20080E}" dt="2022-05-13T11:40:06.348" v="3865" actId="20577"/>
        <pc:sldMkLst>
          <pc:docMk/>
          <pc:sldMk cId="2123468000" sldId="272"/>
        </pc:sldMkLst>
        <pc:spChg chg="mod">
          <ac:chgData name="Hirose, Shiro" userId="f20e18a8-7af5-4f6d-9d3b-64a621699742" providerId="ADAL" clId="{0E85948B-46C3-460E-BEC1-4C631B20080E}" dt="2022-05-13T07:52:25.521" v="3351" actId="20577"/>
          <ac:spMkLst>
            <pc:docMk/>
            <pc:sldMk cId="2123468000" sldId="272"/>
            <ac:spMk id="7" creationId="{00000000-0000-0000-0000-000000000000}"/>
          </ac:spMkLst>
        </pc:spChg>
        <pc:spChg chg="add del mod">
          <ac:chgData name="Hirose, Shiro" userId="f20e18a8-7af5-4f6d-9d3b-64a621699742" providerId="ADAL" clId="{0E85948B-46C3-460E-BEC1-4C631B20080E}" dt="2022-05-13T11:38:31.199" v="3669" actId="478"/>
          <ac:spMkLst>
            <pc:docMk/>
            <pc:sldMk cId="2123468000" sldId="272"/>
            <ac:spMk id="9" creationId="{3404DFFE-CD18-45CF-85C2-973D8E750949}"/>
          </ac:spMkLst>
        </pc:spChg>
        <pc:spChg chg="mod">
          <ac:chgData name="Hirose, Shiro" userId="f20e18a8-7af5-4f6d-9d3b-64a621699742" providerId="ADAL" clId="{0E85948B-46C3-460E-BEC1-4C631B20080E}" dt="2022-05-13T09:22:07.901" v="3567" actId="20577"/>
          <ac:spMkLst>
            <pc:docMk/>
            <pc:sldMk cId="2123468000" sldId="272"/>
            <ac:spMk id="10" creationId="{DEE63563-584E-4DCA-B7C6-01745DE4917A}"/>
          </ac:spMkLst>
        </pc:spChg>
        <pc:spChg chg="mod">
          <ac:chgData name="Hirose, Shiro" userId="f20e18a8-7af5-4f6d-9d3b-64a621699742" providerId="ADAL" clId="{0E85948B-46C3-460E-BEC1-4C631B20080E}" dt="2022-05-13T11:40:06.348" v="3865" actId="20577"/>
          <ac:spMkLst>
            <pc:docMk/>
            <pc:sldMk cId="2123468000" sldId="272"/>
            <ac:spMk id="11" creationId="{DC3E25D4-F8A1-4CE2-8A45-3E2AA9FA3DA6}"/>
          </ac:spMkLst>
        </pc:spChg>
        <pc:spChg chg="add mod">
          <ac:chgData name="Hirose, Shiro" userId="f20e18a8-7af5-4f6d-9d3b-64a621699742" providerId="ADAL" clId="{0E85948B-46C3-460E-BEC1-4C631B20080E}" dt="2022-05-13T07:51:59.896" v="3337" actId="6549"/>
          <ac:spMkLst>
            <pc:docMk/>
            <pc:sldMk cId="2123468000" sldId="272"/>
            <ac:spMk id="14" creationId="{A7D2252A-00E1-4AEA-9EC8-895773232FAC}"/>
          </ac:spMkLst>
        </pc:spChg>
        <pc:spChg chg="del">
          <ac:chgData name="Hirose, Shiro" userId="f20e18a8-7af5-4f6d-9d3b-64a621699742" providerId="ADAL" clId="{0E85948B-46C3-460E-BEC1-4C631B20080E}" dt="2022-05-13T07:30:57.814" v="3153" actId="478"/>
          <ac:spMkLst>
            <pc:docMk/>
            <pc:sldMk cId="2123468000" sldId="272"/>
            <ac:spMk id="16" creationId="{B66B2400-173D-4ECF-A3C6-89D7249CB9CB}"/>
          </ac:spMkLst>
        </pc:spChg>
        <pc:spChg chg="del">
          <ac:chgData name="Hirose, Shiro" userId="f20e18a8-7af5-4f6d-9d3b-64a621699742" providerId="ADAL" clId="{0E85948B-46C3-460E-BEC1-4C631B20080E}" dt="2022-05-13T07:51:30.614" v="3326" actId="478"/>
          <ac:spMkLst>
            <pc:docMk/>
            <pc:sldMk cId="2123468000" sldId="272"/>
            <ac:spMk id="17" creationId="{799AC524-ED88-4129-ADFF-6B90A87DD9C2}"/>
          </ac:spMkLst>
        </pc:spChg>
        <pc:spChg chg="del">
          <ac:chgData name="Hirose, Shiro" userId="f20e18a8-7af5-4f6d-9d3b-64a621699742" providerId="ADAL" clId="{0E85948B-46C3-460E-BEC1-4C631B20080E}" dt="2022-05-13T07:30:57.814" v="3153" actId="478"/>
          <ac:spMkLst>
            <pc:docMk/>
            <pc:sldMk cId="2123468000" sldId="272"/>
            <ac:spMk id="19" creationId="{B0540E00-4F83-438B-A437-5AFE6FFA0F2F}"/>
          </ac:spMkLst>
        </pc:spChg>
        <pc:spChg chg="del mod">
          <ac:chgData name="Hirose, Shiro" userId="f20e18a8-7af5-4f6d-9d3b-64a621699742" providerId="ADAL" clId="{0E85948B-46C3-460E-BEC1-4C631B20080E}" dt="2022-05-13T07:31:08.964" v="3155" actId="478"/>
          <ac:spMkLst>
            <pc:docMk/>
            <pc:sldMk cId="2123468000" sldId="272"/>
            <ac:spMk id="22" creationId="{67A444B9-0D53-4493-B32D-AFD60C82AD89}"/>
          </ac:spMkLst>
        </pc:spChg>
        <pc:spChg chg="del">
          <ac:chgData name="Hirose, Shiro" userId="f20e18a8-7af5-4f6d-9d3b-64a621699742" providerId="ADAL" clId="{0E85948B-46C3-460E-BEC1-4C631B20080E}" dt="2022-05-13T07:51:35.607" v="3327" actId="478"/>
          <ac:spMkLst>
            <pc:docMk/>
            <pc:sldMk cId="2123468000" sldId="272"/>
            <ac:spMk id="25" creationId="{D0FF05DF-B2DF-43F4-8F2A-F4B1E779D8C6}"/>
          </ac:spMkLst>
        </pc:spChg>
        <pc:spChg chg="del">
          <ac:chgData name="Hirose, Shiro" userId="f20e18a8-7af5-4f6d-9d3b-64a621699742" providerId="ADAL" clId="{0E85948B-46C3-460E-BEC1-4C631B20080E}" dt="2022-05-13T07:52:02.769" v="3338" actId="478"/>
          <ac:spMkLst>
            <pc:docMk/>
            <pc:sldMk cId="2123468000" sldId="272"/>
            <ac:spMk id="28" creationId="{FB9B47E4-B26E-4106-AF3A-4B606A628988}"/>
          </ac:spMkLst>
        </pc:spChg>
        <pc:spChg chg="mod">
          <ac:chgData name="Hirose, Shiro" userId="f20e18a8-7af5-4f6d-9d3b-64a621699742" providerId="ADAL" clId="{0E85948B-46C3-460E-BEC1-4C631B20080E}" dt="2022-05-13T07:52:11.930" v="3343" actId="14100"/>
          <ac:spMkLst>
            <pc:docMk/>
            <pc:sldMk cId="2123468000" sldId="272"/>
            <ac:spMk id="30" creationId="{8FA2F088-14CE-452C-8087-9E1CAFDA0A06}"/>
          </ac:spMkLst>
        </pc:spChg>
      </pc:sldChg>
    </pc:docChg>
  </pc:docChgLst>
  <pc:docChgLst>
    <pc:chgData name="Sone, Kazuki" userId="77277d76-024c-435f-bc21-30d513713aec" providerId="ADAL" clId="{9CB4BDE8-8FA0-418F-9AD1-F831C72AB5B1}"/>
    <pc:docChg chg="modSld">
      <pc:chgData name="Sone, Kazuki" userId="77277d76-024c-435f-bc21-30d513713aec" providerId="ADAL" clId="{9CB4BDE8-8FA0-418F-9AD1-F831C72AB5B1}" dt="2022-05-20T05:54:01.634" v="111" actId="20577"/>
      <pc:docMkLst>
        <pc:docMk/>
      </pc:docMkLst>
      <pc:sldChg chg="addSp modSp mod">
        <pc:chgData name="Sone, Kazuki" userId="77277d76-024c-435f-bc21-30d513713aec" providerId="ADAL" clId="{9CB4BDE8-8FA0-418F-9AD1-F831C72AB5B1}" dt="2022-05-20T05:54:01.634" v="111" actId="20577"/>
        <pc:sldMkLst>
          <pc:docMk/>
          <pc:sldMk cId="2123468000" sldId="272"/>
        </pc:sldMkLst>
        <pc:spChg chg="add mod">
          <ac:chgData name="Sone, Kazuki" userId="77277d76-024c-435f-bc21-30d513713aec" providerId="ADAL" clId="{9CB4BDE8-8FA0-418F-9AD1-F831C72AB5B1}" dt="2022-05-20T05:54:01.634" v="111" actId="20577"/>
          <ac:spMkLst>
            <pc:docMk/>
            <pc:sldMk cId="2123468000" sldId="272"/>
            <ac:spMk id="2" creationId="{1BB128FD-DE62-462C-A16C-C05EC6A9BB2F}"/>
          </ac:spMkLst>
        </pc:spChg>
      </pc:sldChg>
    </pc:docChg>
  </pc:docChgLst>
  <pc:docChgLst>
    <pc:chgData name="Hirose, Shiro" userId="f20e18a8-7af5-4f6d-9d3b-64a621699742" providerId="ADAL" clId="{49E0FDA8-D8E1-4297-8994-1BF973061691}"/>
    <pc:docChg chg="modSld">
      <pc:chgData name="Hirose, Shiro" userId="f20e18a8-7af5-4f6d-9d3b-64a621699742" providerId="ADAL" clId="{49E0FDA8-D8E1-4297-8994-1BF973061691}" dt="2022-09-07T12:43:26.086" v="0"/>
      <pc:docMkLst>
        <pc:docMk/>
      </pc:docMkLst>
      <pc:sldChg chg="modSp">
        <pc:chgData name="Hirose, Shiro" userId="f20e18a8-7af5-4f6d-9d3b-64a621699742" providerId="ADAL" clId="{49E0FDA8-D8E1-4297-8994-1BF973061691}" dt="2022-09-07T12:43:26.086" v="0"/>
        <pc:sldMkLst>
          <pc:docMk/>
          <pc:sldMk cId="3394613536" sldId="269"/>
        </pc:sldMkLst>
        <pc:spChg chg="mod">
          <ac:chgData name="Hirose, Shiro" userId="f20e18a8-7af5-4f6d-9d3b-64a621699742" providerId="ADAL" clId="{49E0FDA8-D8E1-4297-8994-1BF973061691}" dt="2022-09-07T12:43:26.086" v="0"/>
          <ac:spMkLst>
            <pc:docMk/>
            <pc:sldMk cId="3394613536" sldId="269"/>
            <ac:spMk id="16" creationId="{B66B2400-173D-4ECF-A3C6-89D7249CB9CB}"/>
          </ac:spMkLst>
        </pc:spChg>
        <pc:spChg chg="mod">
          <ac:chgData name="Hirose, Shiro" userId="f20e18a8-7af5-4f6d-9d3b-64a621699742" providerId="ADAL" clId="{49E0FDA8-D8E1-4297-8994-1BF973061691}" dt="2022-09-07T12:43:26.086" v="0"/>
          <ac:spMkLst>
            <pc:docMk/>
            <pc:sldMk cId="3394613536" sldId="269"/>
            <ac:spMk id="19" creationId="{B0540E00-4F83-438B-A437-5AFE6FFA0F2F}"/>
          </ac:spMkLst>
        </pc:spChg>
      </pc:sldChg>
    </pc:docChg>
  </pc:docChgLst>
  <pc:docChgLst>
    <pc:chgData name="Hirose, Shiro" userId="f20e18a8-7af5-4f6d-9d3b-64a621699742" providerId="ADAL" clId="{E0710062-846F-46CA-BEE8-836464A2A46F}"/>
    <pc:docChg chg="undo custSel addSld delSld modSld">
      <pc:chgData name="Hirose, Shiro" userId="f20e18a8-7af5-4f6d-9d3b-64a621699742" providerId="ADAL" clId="{E0710062-846F-46CA-BEE8-836464A2A46F}" dt="2022-05-25T20:22:13.658" v="160" actId="6549"/>
      <pc:docMkLst>
        <pc:docMk/>
      </pc:docMkLst>
      <pc:sldChg chg="modSp mod">
        <pc:chgData name="Hirose, Shiro" userId="f20e18a8-7af5-4f6d-9d3b-64a621699742" providerId="ADAL" clId="{E0710062-846F-46CA-BEE8-836464A2A46F}" dt="2022-05-22T21:05:51.560" v="64" actId="20577"/>
        <pc:sldMkLst>
          <pc:docMk/>
          <pc:sldMk cId="1977472086" sldId="267"/>
        </pc:sldMkLst>
        <pc:spChg chg="mod">
          <ac:chgData name="Hirose, Shiro" userId="f20e18a8-7af5-4f6d-9d3b-64a621699742" providerId="ADAL" clId="{E0710062-846F-46CA-BEE8-836464A2A46F}" dt="2022-05-22T21:05:51.560" v="64" actId="20577"/>
          <ac:spMkLst>
            <pc:docMk/>
            <pc:sldMk cId="1977472086" sldId="267"/>
            <ac:spMk id="7" creationId="{00000000-0000-0000-0000-000000000000}"/>
          </ac:spMkLst>
        </pc:spChg>
        <pc:spChg chg="mod">
          <ac:chgData name="Hirose, Shiro" userId="f20e18a8-7af5-4f6d-9d3b-64a621699742" providerId="ADAL" clId="{E0710062-846F-46CA-BEE8-836464A2A46F}" dt="2022-05-19T20:02:39.935" v="24" actId="20577"/>
          <ac:spMkLst>
            <pc:docMk/>
            <pc:sldMk cId="1977472086" sldId="267"/>
            <ac:spMk id="10" creationId="{DEE63563-584E-4DCA-B7C6-01745DE4917A}"/>
          </ac:spMkLst>
        </pc:spChg>
        <pc:spChg chg="mod">
          <ac:chgData name="Hirose, Shiro" userId="f20e18a8-7af5-4f6d-9d3b-64a621699742" providerId="ADAL" clId="{E0710062-846F-46CA-BEE8-836464A2A46F}" dt="2022-05-19T20:04:12.477" v="47"/>
          <ac:spMkLst>
            <pc:docMk/>
            <pc:sldMk cId="1977472086" sldId="267"/>
            <ac:spMk id="11" creationId="{DC3E25D4-F8A1-4CE2-8A45-3E2AA9FA3DA6}"/>
          </ac:spMkLst>
        </pc:spChg>
        <pc:spChg chg="mod">
          <ac:chgData name="Hirose, Shiro" userId="f20e18a8-7af5-4f6d-9d3b-64a621699742" providerId="ADAL" clId="{E0710062-846F-46CA-BEE8-836464A2A46F}" dt="2022-05-19T20:04:22.071" v="48" actId="6549"/>
          <ac:spMkLst>
            <pc:docMk/>
            <pc:sldMk cId="1977472086" sldId="267"/>
            <ac:spMk id="38" creationId="{623E6686-701D-4648-A30E-67DAEDE23D29}"/>
          </ac:spMkLst>
        </pc:spChg>
        <pc:spChg chg="mod">
          <ac:chgData name="Hirose, Shiro" userId="f20e18a8-7af5-4f6d-9d3b-64a621699742" providerId="ADAL" clId="{E0710062-846F-46CA-BEE8-836464A2A46F}" dt="2022-05-19T20:04:32.639" v="56" actId="20577"/>
          <ac:spMkLst>
            <pc:docMk/>
            <pc:sldMk cId="1977472086" sldId="267"/>
            <ac:spMk id="40" creationId="{E07A12D3-C0F6-492E-B282-A27A199F9DF5}"/>
          </ac:spMkLst>
        </pc:spChg>
        <pc:graphicFrameChg chg="mod modGraphic">
          <ac:chgData name="Hirose, Shiro" userId="f20e18a8-7af5-4f6d-9d3b-64a621699742" providerId="ADAL" clId="{E0710062-846F-46CA-BEE8-836464A2A46F}" dt="2022-05-19T20:00:02.702" v="12" actId="108"/>
          <ac:graphicFrameMkLst>
            <pc:docMk/>
            <pc:sldMk cId="1977472086" sldId="267"/>
            <ac:graphicFrameMk id="34" creationId="{5E22BFCC-44DF-4F88-BE36-FDB63ADB6938}"/>
          </ac:graphicFrameMkLst>
        </pc:graphicFrameChg>
      </pc:sldChg>
      <pc:sldChg chg="addSp delSp modSp mod">
        <pc:chgData name="Hirose, Shiro" userId="f20e18a8-7af5-4f6d-9d3b-64a621699742" providerId="ADAL" clId="{E0710062-846F-46CA-BEE8-836464A2A46F}" dt="2022-05-25T20:22:13.658" v="160" actId="6549"/>
        <pc:sldMkLst>
          <pc:docMk/>
          <pc:sldMk cId="3394613536" sldId="269"/>
        </pc:sldMkLst>
        <pc:spChg chg="del">
          <ac:chgData name="Hirose, Shiro" userId="f20e18a8-7af5-4f6d-9d3b-64a621699742" providerId="ADAL" clId="{E0710062-846F-46CA-BEE8-836464A2A46F}" dt="2022-05-19T20:01:53.899" v="13" actId="478"/>
          <ac:spMkLst>
            <pc:docMk/>
            <pc:sldMk cId="3394613536" sldId="269"/>
            <ac:spMk id="2" creationId="{E503CD73-8574-41FD-BD1B-D6E136B530A8}"/>
          </ac:spMkLst>
        </pc:spChg>
        <pc:spChg chg="mod">
          <ac:chgData name="Hirose, Shiro" userId="f20e18a8-7af5-4f6d-9d3b-64a621699742" providerId="ADAL" clId="{E0710062-846F-46CA-BEE8-836464A2A46F}" dt="2022-05-22T21:05:46.944" v="60" actId="20577"/>
          <ac:spMkLst>
            <pc:docMk/>
            <pc:sldMk cId="3394613536" sldId="269"/>
            <ac:spMk id="7" creationId="{00000000-0000-0000-0000-000000000000}"/>
          </ac:spMkLst>
        </pc:spChg>
        <pc:spChg chg="add mod">
          <ac:chgData name="Hirose, Shiro" userId="f20e18a8-7af5-4f6d-9d3b-64a621699742" providerId="ADAL" clId="{E0710062-846F-46CA-BEE8-836464A2A46F}" dt="2022-05-22T21:06:20.672" v="116" actId="1035"/>
          <ac:spMkLst>
            <pc:docMk/>
            <pc:sldMk cId="3394613536" sldId="269"/>
            <ac:spMk id="8" creationId="{14CE39B2-D60F-4F6A-BBCD-CC677967B1D3}"/>
          </ac:spMkLst>
        </pc:spChg>
        <pc:spChg chg="add mod">
          <ac:chgData name="Hirose, Shiro" userId="f20e18a8-7af5-4f6d-9d3b-64a621699742" providerId="ADAL" clId="{E0710062-846F-46CA-BEE8-836464A2A46F}" dt="2022-05-25T20:22:13.658" v="160" actId="6549"/>
          <ac:spMkLst>
            <pc:docMk/>
            <pc:sldMk cId="3394613536" sldId="269"/>
            <ac:spMk id="9" creationId="{E8C641C5-A9F4-4774-9E02-6EF3CD0860A3}"/>
          </ac:spMkLst>
        </pc:spChg>
        <pc:spChg chg="add mod">
          <ac:chgData name="Hirose, Shiro" userId="f20e18a8-7af5-4f6d-9d3b-64a621699742" providerId="ADAL" clId="{E0710062-846F-46CA-BEE8-836464A2A46F}" dt="2022-05-22T21:06:29.200" v="149" actId="1036"/>
          <ac:spMkLst>
            <pc:docMk/>
            <pc:sldMk cId="3394613536" sldId="269"/>
            <ac:spMk id="10" creationId="{A626D298-0718-446F-A727-56AA0810B877}"/>
          </ac:spMkLst>
        </pc:spChg>
        <pc:spChg chg="add mod">
          <ac:chgData name="Hirose, Shiro" userId="f20e18a8-7af5-4f6d-9d3b-64a621699742" providerId="ADAL" clId="{E0710062-846F-46CA-BEE8-836464A2A46F}" dt="2022-05-22T21:06:29.200" v="149" actId="1036"/>
          <ac:spMkLst>
            <pc:docMk/>
            <pc:sldMk cId="3394613536" sldId="269"/>
            <ac:spMk id="11" creationId="{52CA5C8D-7197-4561-87B3-F8C4694B3E76}"/>
          </ac:spMkLst>
        </pc:spChg>
        <pc:spChg chg="del">
          <ac:chgData name="Hirose, Shiro" userId="f20e18a8-7af5-4f6d-9d3b-64a621699742" providerId="ADAL" clId="{E0710062-846F-46CA-BEE8-836464A2A46F}" dt="2022-05-19T20:01:53.899" v="13" actId="478"/>
          <ac:spMkLst>
            <pc:docMk/>
            <pc:sldMk cId="3394613536" sldId="269"/>
            <ac:spMk id="14" creationId="{9F9C50CC-9AA4-4B8D-B105-BC77685ED5E4}"/>
          </ac:spMkLst>
        </pc:spChg>
        <pc:spChg chg="del">
          <ac:chgData name="Hirose, Shiro" userId="f20e18a8-7af5-4f6d-9d3b-64a621699742" providerId="ADAL" clId="{E0710062-846F-46CA-BEE8-836464A2A46F}" dt="2022-05-19T20:01:53.899" v="13" actId="478"/>
          <ac:spMkLst>
            <pc:docMk/>
            <pc:sldMk cId="3394613536" sldId="269"/>
            <ac:spMk id="15" creationId="{F85378C7-CA66-44E3-B7CA-A005931FF98F}"/>
          </ac:spMkLst>
        </pc:spChg>
        <pc:spChg chg="mod">
          <ac:chgData name="Hirose, Shiro" userId="f20e18a8-7af5-4f6d-9d3b-64a621699742" providerId="ADAL" clId="{E0710062-846F-46CA-BEE8-836464A2A46F}" dt="2022-05-19T20:02:06.815" v="14"/>
          <ac:spMkLst>
            <pc:docMk/>
            <pc:sldMk cId="3394613536" sldId="269"/>
            <ac:spMk id="16" creationId="{B66B2400-173D-4ECF-A3C6-89D7249CB9CB}"/>
          </ac:spMkLst>
        </pc:spChg>
        <pc:spChg chg="mod">
          <ac:chgData name="Hirose, Shiro" userId="f20e18a8-7af5-4f6d-9d3b-64a621699742" providerId="ADAL" clId="{E0710062-846F-46CA-BEE8-836464A2A46F}" dt="2022-05-25T20:22:08.797" v="157" actId="20577"/>
          <ac:spMkLst>
            <pc:docMk/>
            <pc:sldMk cId="3394613536" sldId="269"/>
            <ac:spMk id="19" creationId="{B0540E00-4F83-438B-A437-5AFE6FFA0F2F}"/>
          </ac:spMkLst>
        </pc:spChg>
        <pc:spChg chg="del">
          <ac:chgData name="Hirose, Shiro" userId="f20e18a8-7af5-4f6d-9d3b-64a621699742" providerId="ADAL" clId="{E0710062-846F-46CA-BEE8-836464A2A46F}" dt="2022-05-19T20:01:53.899" v="13" actId="478"/>
          <ac:spMkLst>
            <pc:docMk/>
            <pc:sldMk cId="3394613536" sldId="269"/>
            <ac:spMk id="20" creationId="{FD9DDB4F-A898-4E76-A233-4F72F8A5466B}"/>
          </ac:spMkLst>
        </pc:spChg>
        <pc:spChg chg="del">
          <ac:chgData name="Hirose, Shiro" userId="f20e18a8-7af5-4f6d-9d3b-64a621699742" providerId="ADAL" clId="{E0710062-846F-46CA-BEE8-836464A2A46F}" dt="2022-05-19T20:01:53.899" v="13" actId="478"/>
          <ac:spMkLst>
            <pc:docMk/>
            <pc:sldMk cId="3394613536" sldId="269"/>
            <ac:spMk id="24" creationId="{F0029DFA-BF0B-4B58-8288-0AB7D2B6A664}"/>
          </ac:spMkLst>
        </pc:spChg>
        <pc:spChg chg="del">
          <ac:chgData name="Hirose, Shiro" userId="f20e18a8-7af5-4f6d-9d3b-64a621699742" providerId="ADAL" clId="{E0710062-846F-46CA-BEE8-836464A2A46F}" dt="2022-05-19T20:01:53.899" v="13" actId="478"/>
          <ac:spMkLst>
            <pc:docMk/>
            <pc:sldMk cId="3394613536" sldId="269"/>
            <ac:spMk id="26" creationId="{5A9071BA-F8E5-4884-9154-D1F049124162}"/>
          </ac:spMkLst>
        </pc:spChg>
        <pc:spChg chg="del">
          <ac:chgData name="Hirose, Shiro" userId="f20e18a8-7af5-4f6d-9d3b-64a621699742" providerId="ADAL" clId="{E0710062-846F-46CA-BEE8-836464A2A46F}" dt="2022-05-19T20:01:53.899" v="13" actId="478"/>
          <ac:spMkLst>
            <pc:docMk/>
            <pc:sldMk cId="3394613536" sldId="269"/>
            <ac:spMk id="27" creationId="{9CBDB8B8-AEA5-4C02-B6C2-FEE11A60E839}"/>
          </ac:spMkLst>
        </pc:spChg>
        <pc:spChg chg="del">
          <ac:chgData name="Hirose, Shiro" userId="f20e18a8-7af5-4f6d-9d3b-64a621699742" providerId="ADAL" clId="{E0710062-846F-46CA-BEE8-836464A2A46F}" dt="2022-05-19T20:01:53.899" v="13" actId="478"/>
          <ac:spMkLst>
            <pc:docMk/>
            <pc:sldMk cId="3394613536" sldId="269"/>
            <ac:spMk id="29" creationId="{66348FED-87BB-47C4-84AD-3B3318B4715C}"/>
          </ac:spMkLst>
        </pc:spChg>
        <pc:spChg chg="del">
          <ac:chgData name="Hirose, Shiro" userId="f20e18a8-7af5-4f6d-9d3b-64a621699742" providerId="ADAL" clId="{E0710062-846F-46CA-BEE8-836464A2A46F}" dt="2022-05-19T20:01:53.899" v="13" actId="478"/>
          <ac:spMkLst>
            <pc:docMk/>
            <pc:sldMk cId="3394613536" sldId="269"/>
            <ac:spMk id="31" creationId="{4F38152A-1D56-4211-86F0-44D18DE65627}"/>
          </ac:spMkLst>
        </pc:spChg>
        <pc:spChg chg="del">
          <ac:chgData name="Hirose, Shiro" userId="f20e18a8-7af5-4f6d-9d3b-64a621699742" providerId="ADAL" clId="{E0710062-846F-46CA-BEE8-836464A2A46F}" dt="2022-05-19T20:01:53.899" v="13" actId="478"/>
          <ac:spMkLst>
            <pc:docMk/>
            <pc:sldMk cId="3394613536" sldId="269"/>
            <ac:spMk id="34" creationId="{52171B5E-E160-4CB3-9447-899709F1378E}"/>
          </ac:spMkLst>
        </pc:spChg>
        <pc:grpChg chg="del">
          <ac:chgData name="Hirose, Shiro" userId="f20e18a8-7af5-4f6d-9d3b-64a621699742" providerId="ADAL" clId="{E0710062-846F-46CA-BEE8-836464A2A46F}" dt="2022-05-19T20:01:53.899" v="13" actId="478"/>
          <ac:grpSpMkLst>
            <pc:docMk/>
            <pc:sldMk cId="3394613536" sldId="269"/>
            <ac:grpSpMk id="32" creationId="{8BF0FC9E-3232-4448-BAE3-6D125B873AE9}"/>
          </ac:grpSpMkLst>
        </pc:grpChg>
        <pc:grpChg chg="del">
          <ac:chgData name="Hirose, Shiro" userId="f20e18a8-7af5-4f6d-9d3b-64a621699742" providerId="ADAL" clId="{E0710062-846F-46CA-BEE8-836464A2A46F}" dt="2022-05-19T20:01:53.899" v="13" actId="478"/>
          <ac:grpSpMkLst>
            <pc:docMk/>
            <pc:sldMk cId="3394613536" sldId="269"/>
            <ac:grpSpMk id="33" creationId="{B5609F7E-B289-4317-BD93-EE24D435461D}"/>
          </ac:grpSpMkLst>
        </pc:grpChg>
      </pc:sldChg>
      <pc:sldChg chg="delSp modSp del mod">
        <pc:chgData name="Hirose, Shiro" userId="f20e18a8-7af5-4f6d-9d3b-64a621699742" providerId="ADAL" clId="{E0710062-846F-46CA-BEE8-836464A2A46F}" dt="2022-05-22T21:06:32.562" v="150" actId="47"/>
        <pc:sldMkLst>
          <pc:docMk/>
          <pc:sldMk cId="2123468000" sldId="272"/>
        </pc:sldMkLst>
        <pc:spChg chg="del">
          <ac:chgData name="Hirose, Shiro" userId="f20e18a8-7af5-4f6d-9d3b-64a621699742" providerId="ADAL" clId="{E0710062-846F-46CA-BEE8-836464A2A46F}" dt="2022-05-22T21:05:57.212" v="65" actId="478"/>
          <ac:spMkLst>
            <pc:docMk/>
            <pc:sldMk cId="2123468000" sldId="272"/>
            <ac:spMk id="2" creationId="{1BB128FD-DE62-462C-A16C-C05EC6A9BB2F}"/>
          </ac:spMkLst>
        </pc:spChg>
        <pc:spChg chg="del mod">
          <ac:chgData name="Hirose, Shiro" userId="f20e18a8-7af5-4f6d-9d3b-64a621699742" providerId="ADAL" clId="{E0710062-846F-46CA-BEE8-836464A2A46F}" dt="2022-05-22T21:06:15.597" v="69" actId="21"/>
          <ac:spMkLst>
            <pc:docMk/>
            <pc:sldMk cId="2123468000" sldId="272"/>
            <ac:spMk id="10" creationId="{DEE63563-584E-4DCA-B7C6-01745DE4917A}"/>
          </ac:spMkLst>
        </pc:spChg>
        <pc:spChg chg="del mod">
          <ac:chgData name="Hirose, Shiro" userId="f20e18a8-7af5-4f6d-9d3b-64a621699742" providerId="ADAL" clId="{E0710062-846F-46CA-BEE8-836464A2A46F}" dt="2022-05-22T21:06:15.597" v="69" actId="21"/>
          <ac:spMkLst>
            <pc:docMk/>
            <pc:sldMk cId="2123468000" sldId="272"/>
            <ac:spMk id="11" creationId="{DC3E25D4-F8A1-4CE2-8A45-3E2AA9FA3DA6}"/>
          </ac:spMkLst>
        </pc:spChg>
        <pc:spChg chg="del mod">
          <ac:chgData name="Hirose, Shiro" userId="f20e18a8-7af5-4f6d-9d3b-64a621699742" providerId="ADAL" clId="{E0710062-846F-46CA-BEE8-836464A2A46F}" dt="2022-05-22T21:06:24.171" v="117" actId="21"/>
          <ac:spMkLst>
            <pc:docMk/>
            <pc:sldMk cId="2123468000" sldId="272"/>
            <ac:spMk id="14" creationId="{A7D2252A-00E1-4AEA-9EC8-895773232FAC}"/>
          </ac:spMkLst>
        </pc:spChg>
        <pc:spChg chg="del mod">
          <ac:chgData name="Hirose, Shiro" userId="f20e18a8-7af5-4f6d-9d3b-64a621699742" providerId="ADAL" clId="{E0710062-846F-46CA-BEE8-836464A2A46F}" dt="2022-05-22T21:06:24.171" v="117" actId="21"/>
          <ac:spMkLst>
            <pc:docMk/>
            <pc:sldMk cId="2123468000" sldId="272"/>
            <ac:spMk id="30" creationId="{8FA2F088-14CE-452C-8087-9E1CAFDA0A06}"/>
          </ac:spMkLst>
        </pc:spChg>
      </pc:sldChg>
      <pc:sldChg chg="delSp modSp add del mod">
        <pc:chgData name="Hirose, Shiro" userId="f20e18a8-7af5-4f6d-9d3b-64a621699742" providerId="ADAL" clId="{E0710062-846F-46CA-BEE8-836464A2A46F}" dt="2022-05-19T20:02:15.502" v="16" actId="47"/>
        <pc:sldMkLst>
          <pc:docMk/>
          <pc:sldMk cId="4010688983" sldId="273"/>
        </pc:sldMkLst>
        <pc:spChg chg="del">
          <ac:chgData name="Hirose, Shiro" userId="f20e18a8-7af5-4f6d-9d3b-64a621699742" providerId="ADAL" clId="{E0710062-846F-46CA-BEE8-836464A2A46F}" dt="2022-05-19T19:59:28.866" v="9" actId="478"/>
          <ac:spMkLst>
            <pc:docMk/>
            <pc:sldMk cId="4010688983" sldId="273"/>
            <ac:spMk id="66" creationId="{A5CFA58B-490C-4165-B8EB-98541DA2B6D2}"/>
          </ac:spMkLst>
        </pc:spChg>
        <pc:spChg chg="del">
          <ac:chgData name="Hirose, Shiro" userId="f20e18a8-7af5-4f6d-9d3b-64a621699742" providerId="ADAL" clId="{E0710062-846F-46CA-BEE8-836464A2A46F}" dt="2022-05-19T19:59:28.866" v="9" actId="478"/>
          <ac:spMkLst>
            <pc:docMk/>
            <pc:sldMk cId="4010688983" sldId="273"/>
            <ac:spMk id="67" creationId="{3956C03F-3852-4926-A1E6-A65261313574}"/>
          </ac:spMkLst>
        </pc:spChg>
        <pc:spChg chg="del">
          <ac:chgData name="Hirose, Shiro" userId="f20e18a8-7af5-4f6d-9d3b-64a621699742" providerId="ADAL" clId="{E0710062-846F-46CA-BEE8-836464A2A46F}" dt="2022-05-19T19:59:22.914" v="7" actId="478"/>
          <ac:spMkLst>
            <pc:docMk/>
            <pc:sldMk cId="4010688983" sldId="273"/>
            <ac:spMk id="71" creationId="{2919C9D0-B4B4-43AF-87DC-80E0DC9FF398}"/>
          </ac:spMkLst>
        </pc:spChg>
        <pc:grpChg chg="del">
          <ac:chgData name="Hirose, Shiro" userId="f20e18a8-7af5-4f6d-9d3b-64a621699742" providerId="ADAL" clId="{E0710062-846F-46CA-BEE8-836464A2A46F}" dt="2022-05-19T19:59:26.008" v="8" actId="478"/>
          <ac:grpSpMkLst>
            <pc:docMk/>
            <pc:sldMk cId="4010688983" sldId="273"/>
            <ac:grpSpMk id="68" creationId="{A0531037-AF78-43AF-81BD-08E68F447229}"/>
          </ac:grpSpMkLst>
        </pc:grpChg>
        <pc:graphicFrameChg chg="mod">
          <ac:chgData name="Hirose, Shiro" userId="f20e18a8-7af5-4f6d-9d3b-64a621699742" providerId="ADAL" clId="{E0710062-846F-46CA-BEE8-836464A2A46F}" dt="2022-05-19T19:59:15.205" v="6"/>
          <ac:graphicFrameMkLst>
            <pc:docMk/>
            <pc:sldMk cId="4010688983" sldId="273"/>
            <ac:graphicFrameMk id="21" creationId="{93BCE60D-7B0A-4C00-A422-1D92BE73F43C}"/>
          </ac:graphicFrameMkLst>
        </pc:graphicFrameChg>
      </pc:sldChg>
    </pc:docChg>
  </pc:docChgLst>
  <pc:docChgLst>
    <pc:chgData name="Nishi, Kentaro" userId="99f4c19a-673e-4fa1-a403-bcbf0c906067" providerId="ADAL" clId="{E2010D75-6396-4D18-8114-D844390E5AC0}"/>
    <pc:docChg chg="undo custSel addSld delSld modSld sldOrd">
      <pc:chgData name="Nishi, Kentaro" userId="99f4c19a-673e-4fa1-a403-bcbf0c906067" providerId="ADAL" clId="{E2010D75-6396-4D18-8114-D844390E5AC0}" dt="2023-05-26T09:10:37.437" v="61" actId="2696"/>
      <pc:docMkLst>
        <pc:docMk/>
      </pc:docMkLst>
      <pc:sldChg chg="modSp del mod">
        <pc:chgData name="Nishi, Kentaro" userId="99f4c19a-673e-4fa1-a403-bcbf0c906067" providerId="ADAL" clId="{E2010D75-6396-4D18-8114-D844390E5AC0}" dt="2023-05-26T09:10:37.437" v="61" actId="2696"/>
        <pc:sldMkLst>
          <pc:docMk/>
          <pc:sldMk cId="1977472086" sldId="267"/>
        </pc:sldMkLst>
        <pc:spChg chg="mod">
          <ac:chgData name="Nishi, Kentaro" userId="99f4c19a-673e-4fa1-a403-bcbf0c906067" providerId="ADAL" clId="{E2010D75-6396-4D18-8114-D844390E5AC0}" dt="2023-05-26T08:55:52.659" v="0" actId="6549"/>
          <ac:spMkLst>
            <pc:docMk/>
            <pc:sldMk cId="1977472086" sldId="267"/>
            <ac:spMk id="11" creationId="{DC3E25D4-F8A1-4CE2-8A45-3E2AA9FA3DA6}"/>
          </ac:spMkLst>
        </pc:spChg>
        <pc:spChg chg="mod">
          <ac:chgData name="Nishi, Kentaro" userId="99f4c19a-673e-4fa1-a403-bcbf0c906067" providerId="ADAL" clId="{E2010D75-6396-4D18-8114-D844390E5AC0}" dt="2023-05-26T09:05:34.683" v="58" actId="20577"/>
          <ac:spMkLst>
            <pc:docMk/>
            <pc:sldMk cId="1977472086" sldId="267"/>
            <ac:spMk id="50" creationId="{13978B6A-8FD5-4818-ABED-D023FE3A7410}"/>
          </ac:spMkLst>
        </pc:spChg>
        <pc:spChg chg="mod">
          <ac:chgData name="Nishi, Kentaro" userId="99f4c19a-673e-4fa1-a403-bcbf0c906067" providerId="ADAL" clId="{E2010D75-6396-4D18-8114-D844390E5AC0}" dt="2023-05-26T09:05:30.576" v="56" actId="20577"/>
          <ac:spMkLst>
            <pc:docMk/>
            <pc:sldMk cId="1977472086" sldId="267"/>
            <ac:spMk id="58" creationId="{156267D2-3367-44BA-9E6F-F9B125D77F35}"/>
          </ac:spMkLst>
        </pc:spChg>
        <pc:spChg chg="mod">
          <ac:chgData name="Nishi, Kentaro" userId="99f4c19a-673e-4fa1-a403-bcbf0c906067" providerId="ADAL" clId="{E2010D75-6396-4D18-8114-D844390E5AC0}" dt="2023-05-26T09:05:26.300" v="52" actId="20577"/>
          <ac:spMkLst>
            <pc:docMk/>
            <pc:sldMk cId="1977472086" sldId="267"/>
            <ac:spMk id="60" creationId="{4CDDCD4A-6ACB-44C4-85EF-E6FB3210F951}"/>
          </ac:spMkLst>
        </pc:spChg>
        <pc:spChg chg="mod">
          <ac:chgData name="Nishi, Kentaro" userId="99f4c19a-673e-4fa1-a403-bcbf0c906067" providerId="ADAL" clId="{E2010D75-6396-4D18-8114-D844390E5AC0}" dt="2023-05-26T09:06:16.258" v="60" actId="20577"/>
          <ac:spMkLst>
            <pc:docMk/>
            <pc:sldMk cId="1977472086" sldId="267"/>
            <ac:spMk id="90" creationId="{FDF2E41B-47C3-4792-AD82-63FB5A58A0B8}"/>
          </ac:spMkLst>
        </pc:spChg>
      </pc:sldChg>
      <pc:sldChg chg="modSp mod">
        <pc:chgData name="Nishi, Kentaro" userId="99f4c19a-673e-4fa1-a403-bcbf0c906067" providerId="ADAL" clId="{E2010D75-6396-4D18-8114-D844390E5AC0}" dt="2023-05-26T09:03:20.247" v="22" actId="20577"/>
        <pc:sldMkLst>
          <pc:docMk/>
          <pc:sldMk cId="3394613536" sldId="269"/>
        </pc:sldMkLst>
        <pc:spChg chg="mod">
          <ac:chgData name="Nishi, Kentaro" userId="99f4c19a-673e-4fa1-a403-bcbf0c906067" providerId="ADAL" clId="{E2010D75-6396-4D18-8114-D844390E5AC0}" dt="2023-05-26T09:02:20.464" v="19" actId="20577"/>
          <ac:spMkLst>
            <pc:docMk/>
            <pc:sldMk cId="3394613536" sldId="269"/>
            <ac:spMk id="8" creationId="{14CE39B2-D60F-4F6A-BBCD-CC677967B1D3}"/>
          </ac:spMkLst>
        </pc:spChg>
        <pc:spChg chg="mod">
          <ac:chgData name="Nishi, Kentaro" userId="99f4c19a-673e-4fa1-a403-bcbf0c906067" providerId="ADAL" clId="{E2010D75-6396-4D18-8114-D844390E5AC0}" dt="2023-05-26T09:03:20.247" v="22" actId="20577"/>
          <ac:spMkLst>
            <pc:docMk/>
            <pc:sldMk cId="3394613536" sldId="269"/>
            <ac:spMk id="9" creationId="{E8C641C5-A9F4-4774-9E02-6EF3CD0860A3}"/>
          </ac:spMkLst>
        </pc:spChg>
      </pc:sldChg>
      <pc:sldChg chg="modSp add mod ord">
        <pc:chgData name="Nishi, Kentaro" userId="99f4c19a-673e-4fa1-a403-bcbf0c906067" providerId="ADAL" clId="{E2010D75-6396-4D18-8114-D844390E5AC0}" dt="2023-05-26T09:05:17.776" v="50"/>
        <pc:sldMkLst>
          <pc:docMk/>
          <pc:sldMk cId="3801752236" sldId="272"/>
        </pc:sldMkLst>
        <pc:spChg chg="mod">
          <ac:chgData name="Nishi, Kentaro" userId="99f4c19a-673e-4fa1-a403-bcbf0c906067" providerId="ADAL" clId="{E2010D75-6396-4D18-8114-D844390E5AC0}" dt="2023-05-26T09:04:23.230" v="40" actId="20577"/>
          <ac:spMkLst>
            <pc:docMk/>
            <pc:sldMk cId="3801752236" sldId="272"/>
            <ac:spMk id="90" creationId="{FDF2E41B-47C3-4792-AD82-63FB5A58A0B8}"/>
          </ac:spMkLst>
        </pc:spChg>
        <pc:spChg chg="mod">
          <ac:chgData name="Nishi, Kentaro" userId="99f4c19a-673e-4fa1-a403-bcbf0c906067" providerId="ADAL" clId="{E2010D75-6396-4D18-8114-D844390E5AC0}" dt="2023-05-26T09:04:32.161" v="47" actId="20577"/>
          <ac:spMkLst>
            <pc:docMk/>
            <pc:sldMk cId="3801752236" sldId="272"/>
            <ac:spMk id="91" creationId="{2ED2AFAB-DA5F-4BB4-83C5-668DCC300286}"/>
          </ac:spMkLst>
        </pc:spChg>
        <pc:spChg chg="mod">
          <ac:chgData name="Nishi, Kentaro" userId="99f4c19a-673e-4fa1-a403-bcbf0c906067" providerId="ADAL" clId="{E2010D75-6396-4D18-8114-D844390E5AC0}" dt="2023-05-26T09:04:35.267" v="48" actId="20577"/>
          <ac:spMkLst>
            <pc:docMk/>
            <pc:sldMk cId="3801752236" sldId="272"/>
            <ac:spMk id="92" creationId="{F3447DF4-92AA-4B91-8D8C-88F3D8BEBE4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4/4/10</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A9C2FA2-D709-42BF-A34A-4C982E569341}"/>
              </a:ext>
            </a:extLst>
          </p:cNvPr>
          <p:cNvGraphicFramePr>
            <a:graphicFrameLocks noChangeAspect="1"/>
          </p:cNvGraphicFramePr>
          <p:nvPr userDrawn="1">
            <p:custDataLst>
              <p:tags r:id="rId13"/>
            </p:custDataLst>
            <p:extLst>
              <p:ext uri="{D42A27DB-BD31-4B8C-83A1-F6EECF244321}">
                <p14:modId xmlns:p14="http://schemas.microsoft.com/office/powerpoint/2010/main" val="32443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3" imgH="353" progId="TCLayout.ActiveDocument.1">
                  <p:embed/>
                </p:oleObj>
              </mc:Choice>
              <mc:Fallback>
                <p:oleObj name="think-cell スライド" r:id="rId16" imgW="353" imgH="353" progId="TCLayout.ActiveDocument.1">
                  <p:embed/>
                  <p:pic>
                    <p:nvPicPr>
                      <p:cNvPr id="9" name="オブジェクト 8" hidden="1">
                        <a:extLst>
                          <a:ext uri="{FF2B5EF4-FFF2-40B4-BE49-F238E27FC236}">
                            <a16:creationId xmlns:a16="http://schemas.microsoft.com/office/drawing/2014/main" id="{BA9C2FA2-D709-42BF-A34A-4C982E56934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5D7BAF6-C17C-4AF6-A1DE-55311D6822D0}"/>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4/10</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a:extLst>
              <a:ext uri="{FF2B5EF4-FFF2-40B4-BE49-F238E27FC236}">
                <a16:creationId xmlns:a16="http://schemas.microsoft.com/office/drawing/2014/main" id="{93BCE60D-7B0A-4C00-A422-1D92BE73F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21" name="オブジェクト 20" hidden="1">
                        <a:extLst>
                          <a:ext uri="{FF2B5EF4-FFF2-40B4-BE49-F238E27FC236}">
                            <a16:creationId xmlns:a16="http://schemas.microsoft.com/office/drawing/2014/main" id="{93BCE60D-7B0A-4C00-A422-1D92BE73F4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活動計画書（</a:t>
            </a:r>
            <a:r>
              <a:rPr kumimoji="1" lang="en-US" altLang="ja-JP" sz="2400" b="1" dirty="0">
                <a:solidFill>
                  <a:schemeClr val="tx1"/>
                </a:solidFill>
              </a:rPr>
              <a:t>1/2</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6" name="正方形/長方形 15">
            <a:extLst>
              <a:ext uri="{FF2B5EF4-FFF2-40B4-BE49-F238E27FC236}">
                <a16:creationId xmlns:a16="http://schemas.microsoft.com/office/drawing/2014/main" id="{B66B2400-173D-4ECF-A3C6-89D7249CB9CB}"/>
              </a:ext>
            </a:extLst>
          </p:cNvPr>
          <p:cNvSpPr/>
          <p:nvPr/>
        </p:nvSpPr>
        <p:spPr>
          <a:xfrm>
            <a:off x="280799" y="920814"/>
            <a:ext cx="12239999" cy="360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defTabSz="326578" fontAlgn="auto">
              <a:spcBef>
                <a:spcPts val="0"/>
              </a:spcBef>
              <a:spcAft>
                <a:spcPts val="0"/>
              </a:spcAft>
            </a:pPr>
            <a:r>
              <a:rPr kumimoji="1" lang="ja-JP" altLang="en-US" sz="1600" b="1" dirty="0">
                <a:solidFill>
                  <a:prstClr val="black"/>
                </a:solidFill>
                <a:latin typeface="Calibri" panose="020F0502020204030204"/>
                <a:ea typeface="游ゴシック" panose="020B0400000000000000" pitchFamily="50" charset="-128"/>
              </a:rPr>
              <a:t>「西新宿先端サービス実装・産官学コンソーシアム」参画の目的</a:t>
            </a:r>
          </a:p>
        </p:txBody>
      </p:sp>
      <p:sp>
        <p:nvSpPr>
          <p:cNvPr id="19" name="正方形/長方形 18">
            <a:extLst>
              <a:ext uri="{FF2B5EF4-FFF2-40B4-BE49-F238E27FC236}">
                <a16:creationId xmlns:a16="http://schemas.microsoft.com/office/drawing/2014/main" id="{B0540E00-4F83-438B-A437-5AFE6FFA0F2F}"/>
              </a:ext>
            </a:extLst>
          </p:cNvPr>
          <p:cNvSpPr/>
          <p:nvPr/>
        </p:nvSpPr>
        <p:spPr>
          <a:xfrm>
            <a:off x="280799" y="1295298"/>
            <a:ext cx="12240000" cy="1786641"/>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indent="-204111" defTabSz="326578" fontAlgn="auto">
              <a:spcBef>
                <a:spcPts val="429"/>
              </a:spcBef>
              <a:spcAft>
                <a:spcPts val="0"/>
              </a:spcAft>
              <a:buFont typeface="Wingdings" panose="05000000000000000000" pitchFamily="2" charset="2"/>
              <a:buChar char="l"/>
            </a:pPr>
            <a:r>
              <a:rPr kumimoji="1" lang="ja-JP" altLang="en-US" sz="1200" dirty="0">
                <a:solidFill>
                  <a:prstClr val="black"/>
                </a:solidFill>
                <a:latin typeface="Calibri" panose="020F0502020204030204"/>
                <a:ea typeface="游ゴシック" panose="020B0400000000000000" pitchFamily="50" charset="-128"/>
              </a:rPr>
              <a:t>西新宿先端サービス実装・産官学コンソーシアムに参加する目的や狙いを記載してください。</a:t>
            </a:r>
            <a:endParaRPr kumimoji="1" lang="en-US" altLang="ja-JP" sz="1200" dirty="0">
              <a:solidFill>
                <a:prstClr val="black"/>
              </a:solidFill>
              <a:latin typeface="Calibri" panose="020F0502020204030204"/>
              <a:ea typeface="游ゴシック" panose="020B0400000000000000" pitchFamily="50" charset="-128"/>
            </a:endParaRPr>
          </a:p>
          <a:p>
            <a:pPr marL="204111" indent="-204111" defTabSz="326578" fontAlgn="auto">
              <a:spcBef>
                <a:spcPts val="429"/>
              </a:spcBef>
              <a:spcAft>
                <a:spcPts val="0"/>
              </a:spcAft>
              <a:buFont typeface="Wingdings" panose="05000000000000000000" pitchFamily="2" charset="2"/>
              <a:buChar char="l"/>
            </a:pPr>
            <a:r>
              <a:rPr kumimoji="1" lang="ja-JP" altLang="en-US" sz="1200" dirty="0">
                <a:solidFill>
                  <a:prstClr val="black"/>
                </a:solidFill>
                <a:latin typeface="Calibri" panose="020F0502020204030204"/>
                <a:ea typeface="游ゴシック" panose="020B0400000000000000" pitchFamily="50" charset="-128"/>
              </a:rPr>
              <a:t>別紙</a:t>
            </a:r>
            <a:r>
              <a:rPr kumimoji="1" lang="en-US" altLang="ja-JP" sz="1200" dirty="0">
                <a:solidFill>
                  <a:prstClr val="black"/>
                </a:solidFill>
                <a:latin typeface="Calibri" panose="020F0502020204030204"/>
                <a:ea typeface="游ゴシック" panose="020B0400000000000000" pitchFamily="50" charset="-128"/>
              </a:rPr>
              <a:t>1</a:t>
            </a:r>
            <a:r>
              <a:rPr kumimoji="1" lang="ja-JP" altLang="en-US" sz="1200" dirty="0">
                <a:solidFill>
                  <a:prstClr val="black"/>
                </a:solidFill>
                <a:latin typeface="Calibri" panose="020F0502020204030204"/>
                <a:ea typeface="游ゴシック" panose="020B0400000000000000" pitchFamily="50" charset="-128"/>
              </a:rPr>
              <a:t>「西新宿エリアの課題」を参照し、解決に寄与する西新宿エリアの課題（生活者</a:t>
            </a:r>
            <a:r>
              <a:rPr kumimoji="1" lang="en-US" altLang="ja-JP" sz="1200" dirty="0">
                <a:solidFill>
                  <a:prstClr val="black"/>
                </a:solidFill>
                <a:latin typeface="Calibri" panose="020F0502020204030204"/>
                <a:ea typeface="游ゴシック" panose="020B0400000000000000" pitchFamily="50" charset="-128"/>
              </a:rPr>
              <a:t>/</a:t>
            </a:r>
            <a:r>
              <a:rPr kumimoji="1" lang="ja-JP" altLang="en-US" sz="1200" dirty="0">
                <a:solidFill>
                  <a:prstClr val="black"/>
                </a:solidFill>
                <a:latin typeface="Calibri" panose="020F0502020204030204"/>
                <a:ea typeface="游ゴシック" panose="020B0400000000000000" pitchFamily="50" charset="-128"/>
              </a:rPr>
              <a:t>商店街・テナントの優先課題）についても必ず触れてください（複数の課題を選択可）</a:t>
            </a:r>
          </a:p>
        </p:txBody>
      </p:sp>
      <p:sp>
        <p:nvSpPr>
          <p:cNvPr id="8" name="正方形/長方形 7">
            <a:extLst>
              <a:ext uri="{FF2B5EF4-FFF2-40B4-BE49-F238E27FC236}">
                <a16:creationId xmlns:a16="http://schemas.microsoft.com/office/drawing/2014/main" id="{14CE39B2-D60F-4F6A-BBCD-CC677967B1D3}"/>
              </a:ext>
            </a:extLst>
          </p:cNvPr>
          <p:cNvSpPr/>
          <p:nvPr/>
        </p:nvSpPr>
        <p:spPr>
          <a:xfrm>
            <a:off x="280800" y="3282761"/>
            <a:ext cx="12240000" cy="432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将来的な都市実装を目指す先端技術活用サービス・技術の内容</a:t>
            </a:r>
          </a:p>
        </p:txBody>
      </p:sp>
      <p:sp>
        <p:nvSpPr>
          <p:cNvPr id="9" name="正方形/長方形 8">
            <a:extLst>
              <a:ext uri="{FF2B5EF4-FFF2-40B4-BE49-F238E27FC236}">
                <a16:creationId xmlns:a16="http://schemas.microsoft.com/office/drawing/2014/main" id="{E8C641C5-A9F4-4774-9E02-6EF3CD0860A3}"/>
              </a:ext>
            </a:extLst>
          </p:cNvPr>
          <p:cNvSpPr/>
          <p:nvPr/>
        </p:nvSpPr>
        <p:spPr>
          <a:xfrm>
            <a:off x="280801" y="3714762"/>
            <a:ext cx="12240000" cy="352629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将来的な都市実装を目指す先端技術サービス・技術について記載ください。</a:t>
            </a:r>
          </a:p>
          <a:p>
            <a:pPr marL="285750" indent="-285750">
              <a:spcBef>
                <a:spcPts val="600"/>
              </a:spcBef>
              <a:buFont typeface="Wingdings" panose="05000000000000000000" pitchFamily="2" charset="2"/>
              <a:buChar char="l"/>
            </a:pPr>
            <a:r>
              <a:rPr kumimoji="1" lang="ja-JP" altLang="en-US" sz="1200" dirty="0">
                <a:solidFill>
                  <a:schemeClr val="tx1"/>
                </a:solidFill>
              </a:rPr>
              <a:t>具体的なサービス内容が決まっている場合は、以下の点を含めて概要を記載してください。</a:t>
            </a:r>
          </a:p>
          <a:p>
            <a:pPr marL="285750" indent="-285750">
              <a:spcBef>
                <a:spcPts val="600"/>
              </a:spcBef>
              <a:buFont typeface="Wingdings" panose="05000000000000000000" pitchFamily="2" charset="2"/>
              <a:buChar char="l"/>
            </a:pPr>
            <a:r>
              <a:rPr kumimoji="1" lang="ja-JP" altLang="en-US" sz="1200" dirty="0">
                <a:solidFill>
                  <a:schemeClr val="tx1"/>
                </a:solidFill>
              </a:rPr>
              <a:t>提供価値、サービス利用者、提供場所、利用する先端技術</a:t>
            </a:r>
          </a:p>
          <a:p>
            <a:pPr marL="285750" indent="-285750">
              <a:spcBef>
                <a:spcPts val="600"/>
              </a:spcBef>
              <a:buFont typeface="Wingdings" panose="05000000000000000000" pitchFamily="2" charset="2"/>
              <a:buChar char="l"/>
            </a:pPr>
            <a:r>
              <a:rPr kumimoji="1" lang="ja-JP" altLang="en-US" sz="1200" dirty="0">
                <a:solidFill>
                  <a:schemeClr val="tx1"/>
                </a:solidFill>
              </a:rPr>
              <a:t>記載に当たっては、図表等を用いて分かりやすく記載してください。</a:t>
            </a:r>
          </a:p>
        </p:txBody>
      </p:sp>
      <p:sp>
        <p:nvSpPr>
          <p:cNvPr id="10" name="正方形/長方形 9">
            <a:extLst>
              <a:ext uri="{FF2B5EF4-FFF2-40B4-BE49-F238E27FC236}">
                <a16:creationId xmlns:a16="http://schemas.microsoft.com/office/drawing/2014/main" id="{A626D298-0718-446F-A727-56AA0810B877}"/>
              </a:ext>
            </a:extLst>
          </p:cNvPr>
          <p:cNvSpPr/>
          <p:nvPr/>
        </p:nvSpPr>
        <p:spPr>
          <a:xfrm>
            <a:off x="280800" y="7906008"/>
            <a:ext cx="12240000" cy="1382125"/>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体制・ビジネス・制度・技術等に関する課題を記載ください。</a:t>
            </a:r>
            <a:endParaRPr kumimoji="1" lang="en-US" altLang="ja-JP" sz="1200" dirty="0">
              <a:solidFill>
                <a:schemeClr val="tx1"/>
              </a:solidFill>
            </a:endParaRPr>
          </a:p>
        </p:txBody>
      </p:sp>
      <p:sp>
        <p:nvSpPr>
          <p:cNvPr id="11" name="正方形/長方形 10">
            <a:extLst>
              <a:ext uri="{FF2B5EF4-FFF2-40B4-BE49-F238E27FC236}">
                <a16:creationId xmlns:a16="http://schemas.microsoft.com/office/drawing/2014/main" id="{52CA5C8D-7197-4561-87B3-F8C4694B3E76}"/>
              </a:ext>
            </a:extLst>
          </p:cNvPr>
          <p:cNvSpPr/>
          <p:nvPr/>
        </p:nvSpPr>
        <p:spPr>
          <a:xfrm>
            <a:off x="280800" y="7474008"/>
            <a:ext cx="12240000" cy="432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サービスの実現・都市実装に向け認識している課題</a:t>
            </a:r>
          </a:p>
        </p:txBody>
      </p:sp>
    </p:spTree>
    <p:extLst>
      <p:ext uri="{BB962C8B-B14F-4D97-AF65-F5344CB8AC3E}">
        <p14:creationId xmlns:p14="http://schemas.microsoft.com/office/powerpoint/2010/main" val="3394613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9A312F4-B1BF-415D-9006-8594637E78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a:extLst>
                          <a:ext uri="{FF2B5EF4-FFF2-40B4-BE49-F238E27FC236}">
                            <a16:creationId xmlns:a16="http://schemas.microsoft.com/office/drawing/2014/main" id="{59A312F4-B1BF-415D-9006-8594637E78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活動計画書（</a:t>
            </a:r>
            <a:r>
              <a:rPr kumimoji="1" lang="en-US" altLang="ja-JP" sz="2400" b="1" dirty="0">
                <a:solidFill>
                  <a:schemeClr val="tx1"/>
                </a:solidFill>
              </a:rPr>
              <a:t>2/2</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0" name="正方形/長方形 9">
            <a:extLst>
              <a:ext uri="{FF2B5EF4-FFF2-40B4-BE49-F238E27FC236}">
                <a16:creationId xmlns:a16="http://schemas.microsoft.com/office/drawing/2014/main" id="{DEE63563-584E-4DCA-B7C6-01745DE4917A}"/>
              </a:ext>
            </a:extLst>
          </p:cNvPr>
          <p:cNvSpPr/>
          <p:nvPr/>
        </p:nvSpPr>
        <p:spPr>
          <a:xfrm>
            <a:off x="203945" y="92339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都市実装を目指すまでの取組の計画・マイルストーン</a:t>
            </a:r>
          </a:p>
        </p:txBody>
      </p:sp>
      <p:sp>
        <p:nvSpPr>
          <p:cNvPr id="11" name="正方形/長方形 10">
            <a:extLst>
              <a:ext uri="{FF2B5EF4-FFF2-40B4-BE49-F238E27FC236}">
                <a16:creationId xmlns:a16="http://schemas.microsoft.com/office/drawing/2014/main" id="{DC3E25D4-F8A1-4CE2-8A45-3E2AA9FA3DA6}"/>
              </a:ext>
            </a:extLst>
          </p:cNvPr>
          <p:cNvSpPr/>
          <p:nvPr/>
        </p:nvSpPr>
        <p:spPr>
          <a:xfrm>
            <a:off x="203945" y="1553225"/>
            <a:ext cx="12240000" cy="784571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indent="-204111" defTabSz="326578" fontAlgn="auto">
              <a:spcBef>
                <a:spcPts val="429"/>
              </a:spcBef>
              <a:spcAft>
                <a:spcPts val="0"/>
              </a:spcAft>
              <a:buFont typeface="Wingdings" panose="05000000000000000000" pitchFamily="2" charset="2"/>
              <a:buChar char="l"/>
            </a:pPr>
            <a:r>
              <a:rPr kumimoji="1" lang="ja-JP" altLang="en-US" sz="1200" dirty="0">
                <a:solidFill>
                  <a:prstClr val="black"/>
                </a:solidFill>
                <a:latin typeface="Calibri" panose="020F0502020204030204"/>
                <a:ea typeface="游ゴシック" panose="020B0400000000000000" pitchFamily="50" charset="-128"/>
              </a:rPr>
              <a:t>活動計画の概要を実施時期ごとに記載ください。</a:t>
            </a:r>
            <a:endParaRPr kumimoji="1" lang="en-US" altLang="ja-JP" sz="1200" dirty="0">
              <a:solidFill>
                <a:prstClr val="black"/>
              </a:solidFill>
              <a:latin typeface="Calibri" panose="020F0502020204030204"/>
              <a:ea typeface="游ゴシック" panose="020B0400000000000000" pitchFamily="50" charset="-128"/>
            </a:endParaRPr>
          </a:p>
          <a:p>
            <a:pPr marL="204111" indent="-204111" defTabSz="326578" fontAlgn="auto">
              <a:spcBef>
                <a:spcPts val="429"/>
              </a:spcBef>
              <a:spcAft>
                <a:spcPts val="0"/>
              </a:spcAft>
              <a:buFont typeface="Wingdings" panose="05000000000000000000" pitchFamily="2" charset="2"/>
              <a:buChar char="l"/>
            </a:pPr>
            <a:r>
              <a:rPr kumimoji="1" lang="ja-JP" altLang="en-US" sz="1200" dirty="0">
                <a:solidFill>
                  <a:prstClr val="black"/>
                </a:solidFill>
                <a:latin typeface="Calibri" panose="020F0502020204030204"/>
                <a:ea typeface="游ゴシック" panose="020B0400000000000000" pitchFamily="50" charset="-128"/>
              </a:rPr>
              <a:t>都市実装に向け認識している課題をどのようなスケジュールで解決するのかについて触れてください</a:t>
            </a:r>
            <a:r>
              <a:rPr kumimoji="1" lang="en-US" altLang="ja-JP" sz="1200" dirty="0">
                <a:solidFill>
                  <a:prstClr val="black"/>
                </a:solidFill>
                <a:latin typeface="Calibri" panose="020F0502020204030204"/>
                <a:ea typeface="游ゴシック" panose="020B0400000000000000" pitchFamily="50" charset="-128"/>
              </a:rPr>
              <a:t>(</a:t>
            </a:r>
            <a:r>
              <a:rPr kumimoji="1" lang="ja-JP" altLang="en-US" sz="1200" dirty="0">
                <a:solidFill>
                  <a:prstClr val="black"/>
                </a:solidFill>
                <a:latin typeface="Calibri" panose="020F0502020204030204"/>
                <a:ea typeface="游ゴシック" panose="020B0400000000000000" pitchFamily="50" charset="-128"/>
              </a:rPr>
              <a:t>記載しにくい場合は適宜時系列は修正ください。</a:t>
            </a:r>
            <a:r>
              <a:rPr kumimoji="1" lang="en-US" altLang="ja-JP" sz="1200" dirty="0">
                <a:solidFill>
                  <a:prstClr val="black"/>
                </a:solidFill>
                <a:latin typeface="Calibri" panose="020F0502020204030204"/>
                <a:ea typeface="游ゴシック" panose="020B0400000000000000" pitchFamily="50" charset="-128"/>
              </a:rPr>
              <a:t>)</a:t>
            </a:r>
          </a:p>
          <a:p>
            <a:pPr marL="204111" indent="-204111" defTabSz="326578" fontAlgn="auto">
              <a:spcBef>
                <a:spcPts val="429"/>
              </a:spcBef>
              <a:spcAft>
                <a:spcPts val="0"/>
              </a:spcAft>
              <a:buFont typeface="Wingdings" panose="05000000000000000000" pitchFamily="2" charset="2"/>
              <a:buChar char="l"/>
            </a:pPr>
            <a:r>
              <a:rPr kumimoji="1" lang="ja-JP" altLang="en-US" sz="1200" dirty="0">
                <a:solidFill>
                  <a:prstClr val="black"/>
                </a:solidFill>
                <a:latin typeface="Calibri" panose="020F0502020204030204"/>
                <a:ea typeface="游ゴシック" panose="020B0400000000000000" pitchFamily="50" charset="-128"/>
              </a:rPr>
              <a:t>本年度における活動は下記</a:t>
            </a:r>
            <a:r>
              <a:rPr kumimoji="1" lang="en-US" altLang="ja-JP" sz="1200" dirty="0">
                <a:solidFill>
                  <a:prstClr val="black"/>
                </a:solidFill>
                <a:latin typeface="Calibri" panose="020F0502020204030204"/>
                <a:ea typeface="游ゴシック" panose="020B0400000000000000" pitchFamily="50" charset="-128"/>
              </a:rPr>
              <a:t>4 </a:t>
            </a:r>
            <a:r>
              <a:rPr kumimoji="1" lang="ja-JP" altLang="en-US" sz="1200" dirty="0">
                <a:solidFill>
                  <a:prstClr val="black"/>
                </a:solidFill>
                <a:latin typeface="Calibri" panose="020F0502020204030204"/>
                <a:ea typeface="游ゴシック" panose="020B0400000000000000" pitchFamily="50" charset="-128"/>
              </a:rPr>
              <a:t>つのいずれか または その組み合わせである必要があります。該当するもの〇を付してください</a:t>
            </a:r>
            <a:r>
              <a:rPr kumimoji="1" lang="en-US" altLang="ja-JP" sz="1200" dirty="0">
                <a:solidFill>
                  <a:prstClr val="black"/>
                </a:solidFill>
                <a:latin typeface="Calibri" panose="020F0502020204030204"/>
                <a:ea typeface="游ゴシック" panose="020B0400000000000000" pitchFamily="50" charset="-128"/>
              </a:rPr>
              <a:t>(</a:t>
            </a:r>
            <a:r>
              <a:rPr kumimoji="1" lang="ja-JP" altLang="en-US" sz="1200" dirty="0">
                <a:solidFill>
                  <a:prstClr val="black"/>
                </a:solidFill>
                <a:latin typeface="Calibri" panose="020F0502020204030204"/>
                <a:ea typeface="游ゴシック" panose="020B0400000000000000" pitchFamily="50" charset="-128"/>
              </a:rPr>
              <a:t>複数選択可</a:t>
            </a:r>
            <a:r>
              <a:rPr kumimoji="1" lang="en-US" altLang="ja-JP" sz="1200" dirty="0">
                <a:solidFill>
                  <a:prstClr val="black"/>
                </a:solidFill>
                <a:latin typeface="Calibri" panose="020F0502020204030204"/>
                <a:ea typeface="游ゴシック" panose="020B0400000000000000" pitchFamily="50" charset="-128"/>
              </a:rPr>
              <a:t>)</a:t>
            </a:r>
            <a:endParaRPr kumimoji="1" lang="ja-JP" altLang="en-US" sz="1200" dirty="0">
              <a:solidFill>
                <a:prstClr val="black"/>
              </a:solidFill>
              <a:latin typeface="Calibri" panose="020F0502020204030204"/>
              <a:ea typeface="游ゴシック" panose="020B0400000000000000" pitchFamily="50" charset="-128"/>
            </a:endParaRPr>
          </a:p>
        </p:txBody>
      </p:sp>
      <p:sp>
        <p:nvSpPr>
          <p:cNvPr id="58" name="矢印: 五方向 57">
            <a:extLst>
              <a:ext uri="{FF2B5EF4-FFF2-40B4-BE49-F238E27FC236}">
                <a16:creationId xmlns:a16="http://schemas.microsoft.com/office/drawing/2014/main" id="{156267D2-3367-44BA-9E6F-F9B125D77F35}"/>
              </a:ext>
            </a:extLst>
          </p:cNvPr>
          <p:cNvSpPr/>
          <p:nvPr/>
        </p:nvSpPr>
        <p:spPr>
          <a:xfrm>
            <a:off x="8354653" y="4452443"/>
            <a:ext cx="2323370"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a:t>
            </a:r>
            <a:r>
              <a:rPr kumimoji="1" lang="en-US" altLang="ja-JP" sz="1200" b="1" dirty="0">
                <a:solidFill>
                  <a:schemeClr val="bg1"/>
                </a:solidFill>
              </a:rPr>
              <a:t>7</a:t>
            </a:r>
            <a:r>
              <a:rPr kumimoji="1" lang="ja-JP" altLang="en-US" sz="1200" b="1" dirty="0">
                <a:solidFill>
                  <a:schemeClr val="bg1"/>
                </a:solidFill>
              </a:rPr>
              <a:t>年度</a:t>
            </a:r>
          </a:p>
        </p:txBody>
      </p:sp>
      <p:sp>
        <p:nvSpPr>
          <p:cNvPr id="50" name="矢印: 五方向 49">
            <a:extLst>
              <a:ext uri="{FF2B5EF4-FFF2-40B4-BE49-F238E27FC236}">
                <a16:creationId xmlns:a16="http://schemas.microsoft.com/office/drawing/2014/main" id="{13978B6A-8FD5-4818-ABED-D023FE3A7410}"/>
              </a:ext>
            </a:extLst>
          </p:cNvPr>
          <p:cNvSpPr/>
          <p:nvPr/>
        </p:nvSpPr>
        <p:spPr>
          <a:xfrm>
            <a:off x="10747745" y="4452443"/>
            <a:ext cx="1620000"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a:t>
            </a:r>
            <a:r>
              <a:rPr kumimoji="1" lang="en-US" altLang="ja-JP" sz="1200" b="1" dirty="0">
                <a:solidFill>
                  <a:schemeClr val="bg1"/>
                </a:solidFill>
              </a:rPr>
              <a:t>8</a:t>
            </a:r>
            <a:r>
              <a:rPr kumimoji="1" lang="ja-JP" altLang="en-US" sz="1200" b="1" dirty="0">
                <a:solidFill>
                  <a:schemeClr val="bg1"/>
                </a:solidFill>
              </a:rPr>
              <a:t>年度</a:t>
            </a:r>
          </a:p>
        </p:txBody>
      </p:sp>
      <p:sp>
        <p:nvSpPr>
          <p:cNvPr id="75" name="テキスト ボックス 74">
            <a:extLst>
              <a:ext uri="{FF2B5EF4-FFF2-40B4-BE49-F238E27FC236}">
                <a16:creationId xmlns:a16="http://schemas.microsoft.com/office/drawing/2014/main" id="{976549C6-4782-4DB0-A111-6DF40BBDCC53}"/>
              </a:ext>
            </a:extLst>
          </p:cNvPr>
          <p:cNvSpPr txBox="1"/>
          <p:nvPr/>
        </p:nvSpPr>
        <p:spPr>
          <a:xfrm rot="20118198">
            <a:off x="5344512" y="6483066"/>
            <a:ext cx="1980000" cy="540000"/>
          </a:xfrm>
          <a:prstGeom prst="rect">
            <a:avLst/>
          </a:prstGeom>
          <a:noFill/>
        </p:spPr>
        <p:txBody>
          <a:bodyPr wrap="square" lIns="72000" tIns="72000" rIns="72000" bIns="72000" rtlCol="0" anchor="ctr" anchorCtr="0">
            <a:noAutofit/>
          </a:bodyPr>
          <a:lstStyle/>
          <a:p>
            <a:pPr algn="ctr"/>
            <a:r>
              <a:rPr kumimoji="1" lang="en-US" altLang="ja-JP" sz="3600" b="1" dirty="0">
                <a:solidFill>
                  <a:srgbClr val="C00000"/>
                </a:solidFill>
                <a:latin typeface="Arial" panose="020B0604020202020204" pitchFamily="34" charset="0"/>
                <a:cs typeface="Arial" panose="020B0604020202020204" pitchFamily="34" charset="0"/>
              </a:rPr>
              <a:t>Sample</a:t>
            </a:r>
            <a:endParaRPr kumimoji="1" lang="ja-JP" altLang="en-US" sz="3600" b="1" dirty="0">
              <a:solidFill>
                <a:srgbClr val="C00000"/>
              </a:solidFill>
              <a:latin typeface="Arial" panose="020B0604020202020204" pitchFamily="34" charset="0"/>
              <a:cs typeface="Arial" panose="020B0604020202020204" pitchFamily="34" charset="0"/>
            </a:endParaRPr>
          </a:p>
        </p:txBody>
      </p:sp>
      <p:sp>
        <p:nvSpPr>
          <p:cNvPr id="60" name="矢印: 五方向 59">
            <a:extLst>
              <a:ext uri="{FF2B5EF4-FFF2-40B4-BE49-F238E27FC236}">
                <a16:creationId xmlns:a16="http://schemas.microsoft.com/office/drawing/2014/main" id="{4CDDCD4A-6ACB-44C4-85EF-E6FB3210F951}"/>
              </a:ext>
            </a:extLst>
          </p:cNvPr>
          <p:cNvSpPr/>
          <p:nvPr/>
        </p:nvSpPr>
        <p:spPr>
          <a:xfrm>
            <a:off x="357654" y="4452443"/>
            <a:ext cx="7927277"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a:t>
            </a:r>
            <a:r>
              <a:rPr kumimoji="1" lang="en-US" altLang="ja-JP" sz="1200" b="1" dirty="0">
                <a:solidFill>
                  <a:schemeClr val="bg1"/>
                </a:solidFill>
              </a:rPr>
              <a:t>6</a:t>
            </a:r>
            <a:r>
              <a:rPr kumimoji="1" lang="ja-JP" altLang="en-US" sz="1200" b="1" dirty="0">
                <a:solidFill>
                  <a:schemeClr val="bg1"/>
                </a:solidFill>
              </a:rPr>
              <a:t>年度</a:t>
            </a:r>
          </a:p>
        </p:txBody>
      </p:sp>
      <p:sp>
        <p:nvSpPr>
          <p:cNvPr id="90" name="矢印: 五方向 89">
            <a:extLst>
              <a:ext uri="{FF2B5EF4-FFF2-40B4-BE49-F238E27FC236}">
                <a16:creationId xmlns:a16="http://schemas.microsoft.com/office/drawing/2014/main" id="{FDF2E41B-47C3-4792-AD82-63FB5A58A0B8}"/>
              </a:ext>
            </a:extLst>
          </p:cNvPr>
          <p:cNvSpPr/>
          <p:nvPr/>
        </p:nvSpPr>
        <p:spPr>
          <a:xfrm>
            <a:off x="357654" y="4972496"/>
            <a:ext cx="2595945" cy="360000"/>
          </a:xfrm>
          <a:prstGeom prst="homePlate">
            <a:avLst>
              <a:gd name="adj" fmla="val 30536"/>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4-7</a:t>
            </a:r>
            <a:r>
              <a:rPr kumimoji="1" lang="ja-JP" altLang="en-US" sz="1200" b="1" dirty="0">
                <a:solidFill>
                  <a:schemeClr val="bg1"/>
                </a:solidFill>
              </a:rPr>
              <a:t>月</a:t>
            </a:r>
          </a:p>
        </p:txBody>
      </p:sp>
      <p:sp>
        <p:nvSpPr>
          <p:cNvPr id="91" name="矢印: 五方向 90">
            <a:extLst>
              <a:ext uri="{FF2B5EF4-FFF2-40B4-BE49-F238E27FC236}">
                <a16:creationId xmlns:a16="http://schemas.microsoft.com/office/drawing/2014/main" id="{2ED2AFAB-DA5F-4BB4-83C5-668DCC300286}"/>
              </a:ext>
            </a:extLst>
          </p:cNvPr>
          <p:cNvSpPr/>
          <p:nvPr/>
        </p:nvSpPr>
        <p:spPr>
          <a:xfrm>
            <a:off x="3023320" y="4972496"/>
            <a:ext cx="2595945" cy="360000"/>
          </a:xfrm>
          <a:prstGeom prst="homePlate">
            <a:avLst>
              <a:gd name="adj" fmla="val 30536"/>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8-11</a:t>
            </a:r>
            <a:r>
              <a:rPr kumimoji="1" lang="ja-JP" altLang="en-US" sz="1200" b="1" dirty="0">
                <a:solidFill>
                  <a:schemeClr val="bg1"/>
                </a:solidFill>
              </a:rPr>
              <a:t>月</a:t>
            </a:r>
          </a:p>
        </p:txBody>
      </p:sp>
      <p:sp>
        <p:nvSpPr>
          <p:cNvPr id="92" name="矢印: 五方向 91">
            <a:extLst>
              <a:ext uri="{FF2B5EF4-FFF2-40B4-BE49-F238E27FC236}">
                <a16:creationId xmlns:a16="http://schemas.microsoft.com/office/drawing/2014/main" id="{F3447DF4-92AA-4B91-8D8C-88F3D8BEBE44}"/>
              </a:ext>
            </a:extLst>
          </p:cNvPr>
          <p:cNvSpPr/>
          <p:nvPr/>
        </p:nvSpPr>
        <p:spPr>
          <a:xfrm>
            <a:off x="5688986" y="4972496"/>
            <a:ext cx="2595945" cy="360000"/>
          </a:xfrm>
          <a:prstGeom prst="homePlate">
            <a:avLst>
              <a:gd name="adj" fmla="val 30536"/>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12-3</a:t>
            </a:r>
            <a:r>
              <a:rPr kumimoji="1" lang="ja-JP" altLang="en-US" sz="1200" b="1" dirty="0">
                <a:solidFill>
                  <a:schemeClr val="bg1"/>
                </a:solidFill>
              </a:rPr>
              <a:t>月</a:t>
            </a:r>
          </a:p>
        </p:txBody>
      </p:sp>
      <p:graphicFrame>
        <p:nvGraphicFramePr>
          <p:cNvPr id="34" name="表 8">
            <a:extLst>
              <a:ext uri="{FF2B5EF4-FFF2-40B4-BE49-F238E27FC236}">
                <a16:creationId xmlns:a16="http://schemas.microsoft.com/office/drawing/2014/main" id="{5E22BFCC-44DF-4F88-BE36-FDB63ADB6938}"/>
              </a:ext>
            </a:extLst>
          </p:cNvPr>
          <p:cNvGraphicFramePr>
            <a:graphicFrameLocks noGrp="1"/>
          </p:cNvGraphicFramePr>
          <p:nvPr/>
        </p:nvGraphicFramePr>
        <p:xfrm>
          <a:off x="1226271" y="2478935"/>
          <a:ext cx="6916243" cy="1330356"/>
        </p:xfrm>
        <a:graphic>
          <a:graphicData uri="http://schemas.openxmlformats.org/drawingml/2006/table">
            <a:tbl>
              <a:tblPr firstRow="1" bandRow="1">
                <a:tableStyleId>{5C22544A-7EE6-4342-B048-85BDC9FD1C3A}</a:tableStyleId>
              </a:tblPr>
              <a:tblGrid>
                <a:gridCol w="6312405">
                  <a:extLst>
                    <a:ext uri="{9D8B030D-6E8A-4147-A177-3AD203B41FA5}">
                      <a16:colId xmlns:a16="http://schemas.microsoft.com/office/drawing/2014/main" val="3474822936"/>
                    </a:ext>
                  </a:extLst>
                </a:gridCol>
                <a:gridCol w="603838">
                  <a:extLst>
                    <a:ext uri="{9D8B030D-6E8A-4147-A177-3AD203B41FA5}">
                      <a16:colId xmlns:a16="http://schemas.microsoft.com/office/drawing/2014/main" val="986800469"/>
                    </a:ext>
                  </a:extLst>
                </a:gridCol>
              </a:tblGrid>
              <a:tr h="285008">
                <a:tc>
                  <a:txBody>
                    <a:bodyPr/>
                    <a:lstStyle/>
                    <a:p>
                      <a:r>
                        <a:rPr kumimoji="1" lang="ja-JP" altLang="en-US" sz="1200" kern="1200" dirty="0">
                          <a:solidFill>
                            <a:schemeClr val="tx1"/>
                          </a:solidFill>
                          <a:latin typeface="+mn-lt"/>
                          <a:ea typeface="+mn-ea"/>
                          <a:cs typeface="+mn-cs"/>
                        </a:rPr>
                        <a:t>①都民に対してサービス提供を行う</a:t>
                      </a: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900">
                        <a:solidFill>
                          <a:schemeClr val="tx1"/>
                        </a:solidFill>
                      </a:endParaRP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56326841"/>
                  </a:ext>
                </a:extLst>
              </a:tr>
              <a:tr h="288000">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②</a:t>
                      </a:r>
                      <a:r>
                        <a:rPr kumimoji="1" lang="ja-JP" altLang="ja-JP" sz="1200" kern="1200" dirty="0">
                          <a:solidFill>
                            <a:schemeClr val="tx1"/>
                          </a:solidFill>
                          <a:latin typeface="+mn-lt"/>
                          <a:ea typeface="+mn-ea"/>
                          <a:cs typeface="+mn-cs"/>
                        </a:rPr>
                        <a:t>サービス</a:t>
                      </a:r>
                      <a:r>
                        <a:rPr kumimoji="1" lang="ja-JP" altLang="en-US" sz="1200" kern="1200" dirty="0">
                          <a:solidFill>
                            <a:schemeClr val="tx1"/>
                          </a:solidFill>
                          <a:latin typeface="+mn-lt"/>
                          <a:ea typeface="+mn-ea"/>
                          <a:cs typeface="+mn-cs"/>
                        </a:rPr>
                        <a:t>実証または</a:t>
                      </a:r>
                      <a:r>
                        <a:rPr kumimoji="1" lang="ja-JP" altLang="ja-JP" sz="1200" kern="1200" dirty="0">
                          <a:solidFill>
                            <a:schemeClr val="tx1"/>
                          </a:solidFill>
                          <a:latin typeface="+mn-lt"/>
                          <a:ea typeface="+mn-ea"/>
                          <a:cs typeface="+mn-cs"/>
                        </a:rPr>
                        <a:t>技術検証を行う（プロトタイプ作成 等）</a:t>
                      </a: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900">
                        <a:solidFill>
                          <a:schemeClr val="tx1"/>
                        </a:solidFill>
                      </a:endParaRP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195262"/>
                  </a:ext>
                </a:extLst>
              </a:tr>
              <a:tr h="288000">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③</a:t>
                      </a:r>
                      <a:r>
                        <a:rPr kumimoji="1" lang="ja-JP" altLang="ja-JP" sz="1200" kern="1200" dirty="0">
                          <a:solidFill>
                            <a:schemeClr val="tx1"/>
                          </a:solidFill>
                          <a:latin typeface="+mn-lt"/>
                          <a:ea typeface="+mn-ea"/>
                          <a:cs typeface="+mn-cs"/>
                        </a:rPr>
                        <a:t>サービス</a:t>
                      </a:r>
                      <a:r>
                        <a:rPr kumimoji="1" lang="ja-JP" altLang="en-US" sz="1200" kern="1200" dirty="0">
                          <a:solidFill>
                            <a:schemeClr val="tx1"/>
                          </a:solidFill>
                          <a:latin typeface="+mn-lt"/>
                          <a:ea typeface="+mn-ea"/>
                          <a:cs typeface="+mn-cs"/>
                        </a:rPr>
                        <a:t>や技術</a:t>
                      </a:r>
                      <a:r>
                        <a:rPr kumimoji="1" lang="ja-JP" altLang="ja-JP" sz="1200" kern="1200" dirty="0">
                          <a:solidFill>
                            <a:schemeClr val="tx1"/>
                          </a:solidFill>
                          <a:latin typeface="+mn-lt"/>
                          <a:ea typeface="+mn-ea"/>
                          <a:cs typeface="+mn-cs"/>
                        </a:rPr>
                        <a:t>の実装確度を高めるための事前調査を行う（顧客ニーズヒアリング、現地実地調査 等）</a:t>
                      </a: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900">
                        <a:solidFill>
                          <a:schemeClr val="tx1"/>
                        </a:solidFill>
                      </a:endParaRP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85846124"/>
                  </a:ext>
                </a:extLst>
              </a:tr>
              <a:tr h="288000">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n-lt"/>
                          <a:ea typeface="+mn-ea"/>
                          <a:cs typeface="+mn-cs"/>
                        </a:rPr>
                        <a:t>④</a:t>
                      </a:r>
                      <a:r>
                        <a:rPr kumimoji="1" lang="ja-JP" altLang="ja-JP" sz="1200" kern="1200" dirty="0">
                          <a:solidFill>
                            <a:schemeClr val="tx1"/>
                          </a:solidFill>
                          <a:latin typeface="+mn-lt"/>
                          <a:ea typeface="+mn-ea"/>
                          <a:cs typeface="+mn-cs"/>
                        </a:rPr>
                        <a:t>サービス</a:t>
                      </a:r>
                      <a:r>
                        <a:rPr kumimoji="1" lang="ja-JP" altLang="en-US" sz="1200" kern="1200" dirty="0">
                          <a:solidFill>
                            <a:schemeClr val="tx1"/>
                          </a:solidFill>
                          <a:latin typeface="+mn-lt"/>
                          <a:ea typeface="+mn-ea"/>
                          <a:cs typeface="+mn-cs"/>
                        </a:rPr>
                        <a:t>や技術の都市実装に必要な</a:t>
                      </a:r>
                      <a:r>
                        <a:rPr kumimoji="1" lang="ja-JP" altLang="ja-JP" sz="1200" kern="1200" dirty="0">
                          <a:solidFill>
                            <a:schemeClr val="tx1"/>
                          </a:solidFill>
                          <a:latin typeface="+mn-lt"/>
                          <a:ea typeface="+mn-ea"/>
                          <a:cs typeface="+mn-cs"/>
                        </a:rPr>
                        <a:t>パートナーの探索や連携交渉を行う</a:t>
                      </a:r>
                      <a:endParaRPr kumimoji="1" lang="en-US" altLang="ja-JP" sz="1200" kern="1200" dirty="0">
                        <a:solidFill>
                          <a:schemeClr val="tx1"/>
                        </a:solidFill>
                        <a:latin typeface="+mn-lt"/>
                        <a:ea typeface="+mn-ea"/>
                        <a:cs typeface="+mn-cs"/>
                      </a:endParaRP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900" dirty="0">
                        <a:solidFill>
                          <a:schemeClr val="tx1"/>
                        </a:solidFill>
                      </a:endParaRPr>
                    </a:p>
                  </a:txBody>
                  <a:tcPr marL="51429" marR="51429" marT="51429" marB="5142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6686871"/>
                  </a:ext>
                </a:extLst>
              </a:tr>
            </a:tbl>
          </a:graphicData>
        </a:graphic>
      </p:graphicFrame>
      <p:sp>
        <p:nvSpPr>
          <p:cNvPr id="38" name="Rectangle 18">
            <a:extLst>
              <a:ext uri="{FF2B5EF4-FFF2-40B4-BE49-F238E27FC236}">
                <a16:creationId xmlns:a16="http://schemas.microsoft.com/office/drawing/2014/main" id="{623E6686-701D-4648-A30E-67DAEDE23D29}"/>
              </a:ext>
            </a:extLst>
          </p:cNvPr>
          <p:cNvSpPr>
            <a:spLocks noChangeArrowheads="1"/>
          </p:cNvSpPr>
          <p:nvPr/>
        </p:nvSpPr>
        <p:spPr bwMode="gray">
          <a:xfrm>
            <a:off x="357654" y="5444216"/>
            <a:ext cx="2595945" cy="3077483"/>
          </a:xfrm>
          <a:prstGeom prst="rect">
            <a:avLst/>
          </a:prstGeom>
          <a:noFill/>
          <a:ln w="9525" algn="ctr">
            <a:solidFill>
              <a:schemeClr val="bg1">
                <a:lumMod val="95000"/>
              </a:schemeClr>
            </a:solid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kumimoji="1" lang="ja-JP" altLang="en-US" sz="1200" dirty="0"/>
              <a:t>５</a:t>
            </a:r>
            <a:r>
              <a:rPr kumimoji="1" lang="en-US" altLang="ja-JP" sz="1200" dirty="0"/>
              <a:t>G</a:t>
            </a:r>
            <a:r>
              <a:rPr kumimoji="1" lang="ja-JP" altLang="en-US" sz="1200" dirty="0"/>
              <a:t>通信環境の整備</a:t>
            </a:r>
            <a:endParaRPr kumimoji="1" lang="en-US" altLang="ja-JP" sz="1200" dirty="0"/>
          </a:p>
          <a:p>
            <a:pPr marL="169863" lvl="1" indent="-168275">
              <a:lnSpc>
                <a:spcPct val="106000"/>
              </a:lnSpc>
              <a:spcBef>
                <a:spcPts val="300"/>
              </a:spcBef>
              <a:buClr>
                <a:schemeClr val="tx1"/>
              </a:buClr>
              <a:buFont typeface="Wingdings" pitchFamily="2" charset="2"/>
              <a:buChar char="n"/>
            </a:pPr>
            <a:r>
              <a:rPr kumimoji="1" lang="ja-JP" altLang="en-US" sz="1200" dirty="0"/>
              <a:t>５</a:t>
            </a:r>
            <a:r>
              <a:rPr kumimoji="1" lang="en-US" altLang="ja-JP" sz="1200" dirty="0"/>
              <a:t>G</a:t>
            </a:r>
            <a:r>
              <a:rPr kumimoji="1" lang="ja-JP" altLang="en-US" sz="1200" dirty="0"/>
              <a:t>を含む先端技術を活用したスマートシティサービス専用アプリ開発</a:t>
            </a:r>
            <a:br>
              <a:rPr kumimoji="1" lang="en-US" altLang="ja-JP" sz="1200" dirty="0"/>
            </a:br>
            <a:r>
              <a:rPr kumimoji="1" lang="ja-JP" altLang="en-US" sz="1200" dirty="0"/>
              <a:t>（コンセプト、提供価値、想定ユーザー等の検討結果を踏まえた</a:t>
            </a:r>
            <a:r>
              <a:rPr kumimoji="1" lang="en-US" altLang="ja-JP" sz="1200" dirty="0"/>
              <a:t>UI</a:t>
            </a:r>
            <a:r>
              <a:rPr kumimoji="1" lang="ja-JP" altLang="en-US" sz="1200" dirty="0"/>
              <a:t>設計・構築）</a:t>
            </a:r>
            <a:endParaRPr kumimoji="1" lang="en-US" altLang="ja-JP" sz="1200" dirty="0"/>
          </a:p>
        </p:txBody>
      </p:sp>
      <p:sp>
        <p:nvSpPr>
          <p:cNvPr id="39" name="Rectangle 18">
            <a:extLst>
              <a:ext uri="{FF2B5EF4-FFF2-40B4-BE49-F238E27FC236}">
                <a16:creationId xmlns:a16="http://schemas.microsoft.com/office/drawing/2014/main" id="{6DEE543F-AB05-41F7-9CB0-51F4285C55B7}"/>
              </a:ext>
            </a:extLst>
          </p:cNvPr>
          <p:cNvSpPr>
            <a:spLocks noChangeArrowheads="1"/>
          </p:cNvSpPr>
          <p:nvPr/>
        </p:nvSpPr>
        <p:spPr bwMode="gray">
          <a:xfrm>
            <a:off x="3023320" y="5444216"/>
            <a:ext cx="2595945" cy="3077483"/>
          </a:xfrm>
          <a:prstGeom prst="rect">
            <a:avLst/>
          </a:prstGeom>
          <a:noFill/>
          <a:ln w="9525" algn="ctr">
            <a:solidFill>
              <a:schemeClr val="bg1">
                <a:lumMod val="95000"/>
              </a:schemeClr>
            </a:solid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a:t>スマートシティサービス専用アプリ開発の動作テスト</a:t>
            </a:r>
            <a:endParaRPr lang="en-US" altLang="ja-JP" sz="1200"/>
          </a:p>
          <a:p>
            <a:pPr marL="169863" lvl="1" indent="-168275">
              <a:lnSpc>
                <a:spcPct val="106000"/>
              </a:lnSpc>
              <a:spcBef>
                <a:spcPts val="300"/>
              </a:spcBef>
              <a:buClr>
                <a:schemeClr val="tx1"/>
              </a:buClr>
              <a:buFont typeface="Wingdings" pitchFamily="2" charset="2"/>
              <a:buChar char="n"/>
            </a:pPr>
            <a:r>
              <a:rPr lang="ja-JP" altLang="en-US" sz="1200"/>
              <a:t>西新宿エリアにおけるスマートシティサービスの試験提供</a:t>
            </a:r>
            <a:endParaRPr lang="en-US" altLang="ja-JP" sz="1200"/>
          </a:p>
          <a:p>
            <a:pPr marL="169863" lvl="1" indent="-168275">
              <a:lnSpc>
                <a:spcPct val="106000"/>
              </a:lnSpc>
              <a:spcBef>
                <a:spcPts val="300"/>
              </a:spcBef>
              <a:buClr>
                <a:schemeClr val="tx1"/>
              </a:buClr>
              <a:buFont typeface="Wingdings" pitchFamily="2" charset="2"/>
              <a:buChar char="n"/>
            </a:pPr>
            <a:r>
              <a:rPr lang="ja-JP" altLang="en-US" sz="1200"/>
              <a:t>街頭インタビューの実施</a:t>
            </a:r>
            <a:br>
              <a:rPr lang="en-US" altLang="ja-JP" sz="1200"/>
            </a:br>
            <a:r>
              <a:rPr lang="ja-JP" altLang="en-US" sz="1200"/>
              <a:t>（隔週頻度でユーザーから満足度・改善要望等をヒアリングし、アプリのユーザビリティ改善等を実施）</a:t>
            </a:r>
            <a:endParaRPr lang="en-US" altLang="ja-JP" sz="1200"/>
          </a:p>
          <a:p>
            <a:pPr marL="169863" lvl="1" indent="-168275" algn="l">
              <a:lnSpc>
                <a:spcPct val="106000"/>
              </a:lnSpc>
              <a:spcBef>
                <a:spcPts val="300"/>
              </a:spcBef>
              <a:buClr>
                <a:schemeClr val="tx1"/>
              </a:buClr>
              <a:buFont typeface="Wingdings" pitchFamily="2" charset="2"/>
              <a:buChar char="n"/>
            </a:pPr>
            <a:endParaRPr lang="en-US" altLang="ja-JP" sz="1200"/>
          </a:p>
        </p:txBody>
      </p:sp>
      <p:sp>
        <p:nvSpPr>
          <p:cNvPr id="40" name="Rectangle 18">
            <a:extLst>
              <a:ext uri="{FF2B5EF4-FFF2-40B4-BE49-F238E27FC236}">
                <a16:creationId xmlns:a16="http://schemas.microsoft.com/office/drawing/2014/main" id="{E07A12D3-C0F6-492E-B282-A27A199F9DF5}"/>
              </a:ext>
            </a:extLst>
          </p:cNvPr>
          <p:cNvSpPr>
            <a:spLocks noChangeArrowheads="1"/>
          </p:cNvSpPr>
          <p:nvPr/>
        </p:nvSpPr>
        <p:spPr bwMode="gray">
          <a:xfrm>
            <a:off x="5688986" y="5444216"/>
            <a:ext cx="2595945" cy="3077483"/>
          </a:xfrm>
          <a:prstGeom prst="rect">
            <a:avLst/>
          </a:prstGeom>
          <a:noFill/>
          <a:ln w="9525" algn="ctr">
            <a:solidFill>
              <a:schemeClr val="bg1">
                <a:lumMod val="95000"/>
              </a:schemeClr>
            </a:solid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試験提供結果を踏まえた、スマートシティサービスの都市実装に向けた課題整理</a:t>
            </a:r>
            <a:endParaRPr lang="en-US" altLang="ja-JP" sz="1200" dirty="0"/>
          </a:p>
        </p:txBody>
      </p:sp>
      <p:sp>
        <p:nvSpPr>
          <p:cNvPr id="41" name="Rectangle 18">
            <a:extLst>
              <a:ext uri="{FF2B5EF4-FFF2-40B4-BE49-F238E27FC236}">
                <a16:creationId xmlns:a16="http://schemas.microsoft.com/office/drawing/2014/main" id="{DD4F9DA1-6036-476B-9606-0BE256D398B1}"/>
              </a:ext>
            </a:extLst>
          </p:cNvPr>
          <p:cNvSpPr>
            <a:spLocks noChangeArrowheads="1"/>
          </p:cNvSpPr>
          <p:nvPr/>
        </p:nvSpPr>
        <p:spPr bwMode="gray">
          <a:xfrm>
            <a:off x="8354653" y="5444216"/>
            <a:ext cx="2323370" cy="3077483"/>
          </a:xfrm>
          <a:prstGeom prst="rect">
            <a:avLst/>
          </a:prstGeom>
          <a:noFill/>
          <a:ln w="9525" algn="ctr">
            <a:solidFill>
              <a:schemeClr val="bg1">
                <a:lumMod val="95000"/>
              </a:schemeClr>
            </a:solid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a:t>都内他エリアにおけるスマートシティサービスの試験提供</a:t>
            </a:r>
            <a:endParaRPr lang="en-US" altLang="ja-JP" sz="1200"/>
          </a:p>
          <a:p>
            <a:pPr marL="169863" lvl="1" indent="-168275">
              <a:lnSpc>
                <a:spcPct val="106000"/>
              </a:lnSpc>
              <a:spcBef>
                <a:spcPts val="300"/>
              </a:spcBef>
              <a:buClr>
                <a:schemeClr val="tx1"/>
              </a:buClr>
              <a:buFont typeface="Wingdings" pitchFamily="2" charset="2"/>
              <a:buChar char="n"/>
            </a:pPr>
            <a:r>
              <a:rPr lang="ja-JP" altLang="en-US" sz="1200"/>
              <a:t>都民向けアンケート調査・集計</a:t>
            </a:r>
            <a:endParaRPr lang="en-US" altLang="ja-JP" sz="1200"/>
          </a:p>
        </p:txBody>
      </p:sp>
      <p:sp>
        <p:nvSpPr>
          <p:cNvPr id="42" name="Rectangle 18">
            <a:extLst>
              <a:ext uri="{FF2B5EF4-FFF2-40B4-BE49-F238E27FC236}">
                <a16:creationId xmlns:a16="http://schemas.microsoft.com/office/drawing/2014/main" id="{7295A6FE-323B-4004-B0B2-99DF065EB7F4}"/>
              </a:ext>
            </a:extLst>
          </p:cNvPr>
          <p:cNvSpPr>
            <a:spLocks noChangeArrowheads="1"/>
          </p:cNvSpPr>
          <p:nvPr/>
        </p:nvSpPr>
        <p:spPr bwMode="gray">
          <a:xfrm>
            <a:off x="10747743" y="5444216"/>
            <a:ext cx="1620001" cy="3077483"/>
          </a:xfrm>
          <a:prstGeom prst="rect">
            <a:avLst/>
          </a:prstGeom>
          <a:noFill/>
          <a:ln w="9525" algn="ctr">
            <a:solidFill>
              <a:schemeClr val="bg1">
                <a:lumMod val="95000"/>
              </a:schemeClr>
            </a:solid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a:t>都内</a:t>
            </a:r>
            <a:r>
              <a:rPr lang="en-US" altLang="ja-JP" sz="1200"/>
              <a:t>23</a:t>
            </a:r>
            <a:r>
              <a:rPr lang="ja-JP" altLang="en-US" sz="1200"/>
              <a:t>区全域に</a:t>
            </a:r>
            <a:br>
              <a:rPr lang="en-US" altLang="ja-JP" sz="1200"/>
            </a:br>
            <a:r>
              <a:rPr lang="ja-JP" altLang="en-US" sz="1200"/>
              <a:t>おけるスマート</a:t>
            </a:r>
            <a:br>
              <a:rPr lang="en-US" altLang="ja-JP" sz="1200"/>
            </a:br>
            <a:r>
              <a:rPr lang="ja-JP" altLang="en-US" sz="1200"/>
              <a:t>シティサービスの本格提供</a:t>
            </a:r>
            <a:br>
              <a:rPr lang="en-US" altLang="ja-JP" sz="1200"/>
            </a:br>
            <a:r>
              <a:rPr lang="ja-JP" altLang="en-US" sz="1200"/>
              <a:t>（順次拡大想定）</a:t>
            </a:r>
            <a:endParaRPr lang="en-US" altLang="ja-JP" sz="1200"/>
          </a:p>
        </p:txBody>
      </p:sp>
    </p:spTree>
    <p:extLst>
      <p:ext uri="{BB962C8B-B14F-4D97-AF65-F5344CB8AC3E}">
        <p14:creationId xmlns:p14="http://schemas.microsoft.com/office/powerpoint/2010/main" val="3801752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a:extLst>
              <a:ext uri="{FF2B5EF4-FFF2-40B4-BE49-F238E27FC236}">
                <a16:creationId xmlns:a16="http://schemas.microsoft.com/office/drawing/2014/main" id="{93BCE60D-7B0A-4C00-A422-1D92BE73F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21" name="オブジェクト 20" hidden="1">
                        <a:extLst>
                          <a:ext uri="{FF2B5EF4-FFF2-40B4-BE49-F238E27FC236}">
                            <a16:creationId xmlns:a16="http://schemas.microsoft.com/office/drawing/2014/main" id="{93BCE60D-7B0A-4C00-A422-1D92BE73F4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6" name="正方形/長方形 85">
            <a:extLst>
              <a:ext uri="{FF2B5EF4-FFF2-40B4-BE49-F238E27FC236}">
                <a16:creationId xmlns:a16="http://schemas.microsoft.com/office/drawing/2014/main" id="{3474E380-5242-44C7-8564-ED619AEFEA9F}"/>
              </a:ext>
            </a:extLst>
          </p:cNvPr>
          <p:cNvSpPr/>
          <p:nvPr/>
        </p:nvSpPr>
        <p:spPr>
          <a:xfrm>
            <a:off x="280800" y="1512673"/>
            <a:ext cx="12240000" cy="7825001"/>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a:solidFill>
                  <a:schemeClr val="tx1"/>
                </a:solidFill>
              </a:rPr>
              <a:t>下記記載例を参考に、実施体制と各主体の役割を記載してください。</a:t>
            </a:r>
          </a:p>
          <a:p>
            <a:pPr marL="285750" indent="-285750">
              <a:spcBef>
                <a:spcPts val="600"/>
              </a:spcBef>
              <a:buFont typeface="Wingdings" panose="05000000000000000000" pitchFamily="2" charset="2"/>
              <a:buChar char="l"/>
            </a:pPr>
            <a:endParaRPr kumimoji="1" lang="en-US" altLang="ja-JP" sz="1200">
              <a:solidFill>
                <a:schemeClr val="tx1"/>
              </a:solidFill>
            </a:endParaRPr>
          </a:p>
        </p:txBody>
      </p:sp>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a:solidFill>
                  <a:schemeClr val="tx1"/>
                </a:solidFill>
              </a:rPr>
              <a:t>共同提案の場合の追加記載項目</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53" name="正方形/長方形 52">
            <a:extLst>
              <a:ext uri="{FF2B5EF4-FFF2-40B4-BE49-F238E27FC236}">
                <a16:creationId xmlns:a16="http://schemas.microsoft.com/office/drawing/2014/main" id="{EB37B69A-E2F0-4FA9-92F5-BE3F29A447C5}"/>
              </a:ext>
            </a:extLst>
          </p:cNvPr>
          <p:cNvSpPr/>
          <p:nvPr/>
        </p:nvSpPr>
        <p:spPr>
          <a:xfrm>
            <a:off x="280800" y="93667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a:solidFill>
                  <a:schemeClr val="tx1"/>
                </a:solidFill>
              </a:rPr>
              <a:t>実施体制</a:t>
            </a:r>
          </a:p>
        </p:txBody>
      </p:sp>
      <p:sp>
        <p:nvSpPr>
          <p:cNvPr id="52" name="吹き出し: 四角形 51">
            <a:extLst>
              <a:ext uri="{FF2B5EF4-FFF2-40B4-BE49-F238E27FC236}">
                <a16:creationId xmlns:a16="http://schemas.microsoft.com/office/drawing/2014/main" id="{8E12845A-3A64-466A-88FC-C2F5FA61F531}"/>
              </a:ext>
            </a:extLst>
          </p:cNvPr>
          <p:cNvSpPr/>
          <p:nvPr/>
        </p:nvSpPr>
        <p:spPr>
          <a:xfrm>
            <a:off x="8917628" y="263526"/>
            <a:ext cx="2702872" cy="974724"/>
          </a:xfrm>
          <a:prstGeom prst="wedgeRectCallout">
            <a:avLst>
              <a:gd name="adj1" fmla="val -65687"/>
              <a:gd name="adj2" fmla="val -46859"/>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a:solidFill>
                  <a:schemeClr val="tx1"/>
                </a:solidFill>
              </a:rPr>
              <a:t>単一の企業・大学として</a:t>
            </a:r>
            <a:endParaRPr kumimoji="1" lang="en-US" altLang="ja-JP" sz="1200">
              <a:solidFill>
                <a:schemeClr val="tx1"/>
              </a:solidFill>
            </a:endParaRPr>
          </a:p>
          <a:p>
            <a:pPr algn="ctr"/>
            <a:r>
              <a:rPr kumimoji="1" lang="ja-JP" altLang="en-US" sz="1200">
                <a:solidFill>
                  <a:schemeClr val="tx1"/>
                </a:solidFill>
              </a:rPr>
              <a:t>コンソーシアムに参加する場合は</a:t>
            </a:r>
            <a:endParaRPr kumimoji="1" lang="en-US" altLang="ja-JP" sz="1200">
              <a:solidFill>
                <a:schemeClr val="tx1"/>
              </a:solidFill>
            </a:endParaRPr>
          </a:p>
          <a:p>
            <a:pPr algn="ctr"/>
            <a:r>
              <a:rPr kumimoji="1" lang="ja-JP" altLang="en-US" sz="1200">
                <a:solidFill>
                  <a:schemeClr val="tx1"/>
                </a:solidFill>
              </a:rPr>
              <a:t>このページは記載不要です。</a:t>
            </a:r>
          </a:p>
        </p:txBody>
      </p:sp>
      <p:grpSp>
        <p:nvGrpSpPr>
          <p:cNvPr id="54" name="グループ化 53">
            <a:extLst>
              <a:ext uri="{FF2B5EF4-FFF2-40B4-BE49-F238E27FC236}">
                <a16:creationId xmlns:a16="http://schemas.microsoft.com/office/drawing/2014/main" id="{6A9A5706-258D-4D62-A2B3-15B5839B73C8}"/>
              </a:ext>
            </a:extLst>
          </p:cNvPr>
          <p:cNvGrpSpPr/>
          <p:nvPr/>
        </p:nvGrpSpPr>
        <p:grpSpPr>
          <a:xfrm>
            <a:off x="2532347" y="2561205"/>
            <a:ext cx="6814405" cy="2863968"/>
            <a:chOff x="1103597" y="1852599"/>
            <a:chExt cx="6814405" cy="2863968"/>
          </a:xfrm>
        </p:grpSpPr>
        <p:cxnSp>
          <p:nvCxnSpPr>
            <p:cNvPr id="55" name="AutoShape 9">
              <a:extLst>
                <a:ext uri="{FF2B5EF4-FFF2-40B4-BE49-F238E27FC236}">
                  <a16:creationId xmlns:a16="http://schemas.microsoft.com/office/drawing/2014/main" id="{2CA35437-5DF9-4519-A04E-E603362AF5C6}"/>
                </a:ext>
              </a:extLst>
            </p:cNvPr>
            <p:cNvCxnSpPr>
              <a:cxnSpLocks noChangeShapeType="1"/>
              <a:stCxn id="66" idx="2"/>
              <a:endCxn id="90" idx="0"/>
            </p:cNvCxnSpPr>
            <p:nvPr/>
          </p:nvCxnSpPr>
          <p:spPr bwMode="gray">
            <a:xfrm rot="5400000">
              <a:off x="3023215" y="1699329"/>
              <a:ext cx="543688" cy="2452253"/>
            </a:xfrm>
            <a:prstGeom prst="bentConnector3">
              <a:avLst>
                <a:gd name="adj1" fmla="val 50000"/>
              </a:avLst>
            </a:prstGeom>
            <a:noFill/>
            <a:ln w="12700">
              <a:solidFill>
                <a:schemeClr val="bg2">
                  <a:lumMod val="90000"/>
                </a:schemeClr>
              </a:solidFill>
              <a:miter lim="800000"/>
              <a:headEnd/>
              <a:tailEnd/>
            </a:ln>
          </p:spPr>
        </p:cxnSp>
        <p:cxnSp>
          <p:nvCxnSpPr>
            <p:cNvPr id="56" name="AutoShape 10">
              <a:extLst>
                <a:ext uri="{FF2B5EF4-FFF2-40B4-BE49-F238E27FC236}">
                  <a16:creationId xmlns:a16="http://schemas.microsoft.com/office/drawing/2014/main" id="{F55CB104-C2BC-47C8-9386-5F4EF82C7353}"/>
                </a:ext>
              </a:extLst>
            </p:cNvPr>
            <p:cNvCxnSpPr>
              <a:cxnSpLocks noChangeShapeType="1"/>
              <a:stCxn id="66" idx="2"/>
              <a:endCxn id="68"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57" name="AutoShape 17">
              <a:extLst>
                <a:ext uri="{FF2B5EF4-FFF2-40B4-BE49-F238E27FC236}">
                  <a16:creationId xmlns:a16="http://schemas.microsoft.com/office/drawing/2014/main" id="{D3F43549-9CE7-450D-996E-91F84EDCABB6}"/>
                </a:ext>
              </a:extLst>
            </p:cNvPr>
            <p:cNvCxnSpPr>
              <a:cxnSpLocks noChangeShapeType="1"/>
              <a:stCxn id="88" idx="0"/>
              <a:endCxn id="66"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58" name="グループ化 57">
              <a:extLst>
                <a:ext uri="{FF2B5EF4-FFF2-40B4-BE49-F238E27FC236}">
                  <a16:creationId xmlns:a16="http://schemas.microsoft.com/office/drawing/2014/main" id="{04AA7EFF-2DB2-4637-8503-760DEA2EFAAD}"/>
                </a:ext>
              </a:extLst>
            </p:cNvPr>
            <p:cNvGrpSpPr/>
            <p:nvPr/>
          </p:nvGrpSpPr>
          <p:grpSpPr>
            <a:xfrm>
              <a:off x="1124368" y="3197299"/>
              <a:ext cx="1889127" cy="797740"/>
              <a:chOff x="1124368" y="3197299"/>
              <a:chExt cx="1889127" cy="797740"/>
            </a:xfrm>
          </p:grpSpPr>
          <p:sp>
            <p:nvSpPr>
              <p:cNvPr id="90" name="Rectangle 24">
                <a:extLst>
                  <a:ext uri="{FF2B5EF4-FFF2-40B4-BE49-F238E27FC236}">
                    <a16:creationId xmlns:a16="http://schemas.microsoft.com/office/drawing/2014/main" id="{7C996AEE-9C80-4A54-A41C-7DF74DF285D7}"/>
                  </a:ext>
                </a:extLst>
              </p:cNvPr>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①</a:t>
                </a:r>
                <a:endParaRPr kumimoji="0" lang="en-GB" sz="1200" b="1" i="0" u="none" strike="noStrike" kern="0" cap="none" spc="0" normalizeH="0" baseline="0" noProof="0">
                  <a:ln>
                    <a:noFill/>
                  </a:ln>
                  <a:effectLst/>
                  <a:uLnTx/>
                  <a:uFillTx/>
                  <a:latin typeface="Arial"/>
                </a:endParaRPr>
              </a:p>
            </p:txBody>
          </p:sp>
          <p:sp>
            <p:nvSpPr>
              <p:cNvPr id="91" name="Rectangle 25">
                <a:extLst>
                  <a:ext uri="{FF2B5EF4-FFF2-40B4-BE49-F238E27FC236}">
                    <a16:creationId xmlns:a16="http://schemas.microsoft.com/office/drawing/2014/main" id="{79D543E0-6A8C-44FB-BA3E-C3423B1EBFEC}"/>
                  </a:ext>
                </a:extLst>
              </p:cNvPr>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a:latin typeface="Arial"/>
                  </a:rPr>
                  <a:t>XXXXX</a:t>
                </a:r>
                <a:r>
                  <a:rPr lang="ja-JP" altLang="en-US" sz="1200"/>
                  <a:t>株式会社</a:t>
                </a:r>
                <a:endParaRPr kumimoji="0" lang="en-GB" sz="1200" b="0" i="0" u="none" strike="noStrike" kern="0" cap="none" spc="0" normalizeH="0" baseline="0" noProof="0">
                  <a:ln>
                    <a:noFill/>
                  </a:ln>
                  <a:effectLst/>
                  <a:uLnTx/>
                  <a:uFillTx/>
                  <a:latin typeface="Arial"/>
                </a:endParaRPr>
              </a:p>
            </p:txBody>
          </p:sp>
        </p:grpSp>
        <p:grpSp>
          <p:nvGrpSpPr>
            <p:cNvPr id="59" name="グループ化 58">
              <a:extLst>
                <a:ext uri="{FF2B5EF4-FFF2-40B4-BE49-F238E27FC236}">
                  <a16:creationId xmlns:a16="http://schemas.microsoft.com/office/drawing/2014/main" id="{B1C9AE6A-B454-4B94-AEB1-235C613D04E3}"/>
                </a:ext>
              </a:extLst>
            </p:cNvPr>
            <p:cNvGrpSpPr/>
            <p:nvPr/>
          </p:nvGrpSpPr>
          <p:grpSpPr>
            <a:xfrm>
              <a:off x="3576624" y="3197299"/>
              <a:ext cx="1889126" cy="797740"/>
              <a:chOff x="3576624" y="3197299"/>
              <a:chExt cx="1889126" cy="797740"/>
            </a:xfrm>
          </p:grpSpPr>
          <p:sp>
            <p:nvSpPr>
              <p:cNvPr id="88" name="Rectangle 27">
                <a:extLst>
                  <a:ext uri="{FF2B5EF4-FFF2-40B4-BE49-F238E27FC236}">
                    <a16:creationId xmlns:a16="http://schemas.microsoft.com/office/drawing/2014/main" id="{AF63CC23-895F-49DA-8940-A4C7DAB2F003}"/>
                  </a:ext>
                </a:extLst>
              </p:cNvPr>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②</a:t>
                </a:r>
                <a:endParaRPr kumimoji="0" lang="en-GB" sz="1200" b="1" i="0" u="none" strike="noStrike" kern="0" cap="none" spc="0" normalizeH="0" baseline="0" noProof="0">
                  <a:ln>
                    <a:noFill/>
                  </a:ln>
                  <a:effectLst/>
                  <a:uLnTx/>
                  <a:uFillTx/>
                  <a:latin typeface="Arial"/>
                </a:endParaRPr>
              </a:p>
            </p:txBody>
          </p:sp>
          <p:sp>
            <p:nvSpPr>
              <p:cNvPr id="89" name="Rectangle 28">
                <a:extLst>
                  <a:ext uri="{FF2B5EF4-FFF2-40B4-BE49-F238E27FC236}">
                    <a16:creationId xmlns:a16="http://schemas.microsoft.com/office/drawing/2014/main" id="{20E58333-6CC4-4448-A947-83957AAA90BA}"/>
                  </a:ext>
                </a:extLst>
              </p:cNvPr>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a:latin typeface="Arial"/>
                  </a:rPr>
                  <a:t>株式会社</a:t>
                </a:r>
                <a:r>
                  <a:rPr kumimoji="0" lang="en-US" altLang="ja-JP" sz="1200" b="0" i="0" u="none" strike="noStrike" kern="0" cap="none" spc="0" normalizeH="0" baseline="0" noProof="0">
                    <a:ln>
                      <a:noFill/>
                    </a:ln>
                    <a:effectLst/>
                    <a:uLnTx/>
                    <a:uFillTx/>
                    <a:latin typeface="Arial"/>
                  </a:rPr>
                  <a:t>XXXXX</a:t>
                </a:r>
                <a:endParaRPr kumimoji="0" lang="en-GB" sz="1200" b="0" i="0" u="none" strike="noStrike" kern="0" cap="none" spc="0" normalizeH="0" baseline="0" noProof="0">
                  <a:ln>
                    <a:noFill/>
                  </a:ln>
                  <a:effectLst/>
                  <a:uLnTx/>
                  <a:uFillTx/>
                  <a:latin typeface="Arial"/>
                </a:endParaRPr>
              </a:p>
            </p:txBody>
          </p:sp>
        </p:grpSp>
        <p:grpSp>
          <p:nvGrpSpPr>
            <p:cNvPr id="60" name="グループ化 59">
              <a:extLst>
                <a:ext uri="{FF2B5EF4-FFF2-40B4-BE49-F238E27FC236}">
                  <a16:creationId xmlns:a16="http://schemas.microsoft.com/office/drawing/2014/main" id="{3196D7AA-5E7B-416F-BEED-04EF4E7D5A1C}"/>
                </a:ext>
              </a:extLst>
            </p:cNvPr>
            <p:cNvGrpSpPr/>
            <p:nvPr/>
          </p:nvGrpSpPr>
          <p:grpSpPr>
            <a:xfrm>
              <a:off x="6028876" y="3197299"/>
              <a:ext cx="1889126" cy="797740"/>
              <a:chOff x="6028876" y="3197299"/>
              <a:chExt cx="1889126" cy="797740"/>
            </a:xfrm>
          </p:grpSpPr>
          <p:sp>
            <p:nvSpPr>
              <p:cNvPr id="68" name="Rectangle 31">
                <a:extLst>
                  <a:ext uri="{FF2B5EF4-FFF2-40B4-BE49-F238E27FC236}">
                    <a16:creationId xmlns:a16="http://schemas.microsoft.com/office/drawing/2014/main" id="{14D4CEF5-B3C6-4B0D-9D98-EFABF12E2BD3}"/>
                  </a:ext>
                </a:extLst>
              </p:cNvPr>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③</a:t>
                </a:r>
                <a:endParaRPr kumimoji="0" lang="en-GB" sz="1200" b="1" i="0" u="none" strike="noStrike" kern="0" cap="none" spc="0" normalizeH="0" baseline="0" noProof="0">
                  <a:ln>
                    <a:noFill/>
                  </a:ln>
                  <a:effectLst/>
                  <a:uLnTx/>
                  <a:uFillTx/>
                  <a:latin typeface="Arial"/>
                </a:endParaRPr>
              </a:p>
            </p:txBody>
          </p:sp>
          <p:sp>
            <p:nvSpPr>
              <p:cNvPr id="87" name="Rectangle 32">
                <a:extLst>
                  <a:ext uri="{FF2B5EF4-FFF2-40B4-BE49-F238E27FC236}">
                    <a16:creationId xmlns:a16="http://schemas.microsoft.com/office/drawing/2014/main" id="{B12EC13A-30B9-4FB3-B46E-E4994C91B3B9}"/>
                  </a:ext>
                </a:extLst>
              </p:cNvPr>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effectLst/>
                    <a:uLnTx/>
                    <a:uFillTx/>
                    <a:latin typeface="Arial"/>
                  </a:rPr>
                  <a:t>XXXXX</a:t>
                </a:r>
                <a:r>
                  <a:rPr kumimoji="0" lang="ja-JP" altLang="en-US" sz="1200" b="0" i="0" u="none" strike="noStrike" kern="0" cap="none" spc="0" normalizeH="0" baseline="0" noProof="0">
                    <a:ln>
                      <a:noFill/>
                    </a:ln>
                    <a:effectLst/>
                    <a:uLnTx/>
                    <a:uFillTx/>
                    <a:latin typeface="Arial"/>
                  </a:rPr>
                  <a:t>株式会社</a:t>
                </a:r>
                <a:endParaRPr kumimoji="0" lang="en-GB" sz="1200" b="0" i="0" u="none" strike="noStrike" kern="0" cap="none" spc="0" normalizeH="0" baseline="0" noProof="0">
                  <a:ln>
                    <a:noFill/>
                  </a:ln>
                  <a:effectLst/>
                  <a:uLnTx/>
                  <a:uFillTx/>
                  <a:latin typeface="Arial"/>
                </a:endParaRPr>
              </a:p>
            </p:txBody>
          </p:sp>
        </p:grpSp>
        <p:sp>
          <p:nvSpPr>
            <p:cNvPr id="61" name="Rectangle 18">
              <a:extLst>
                <a:ext uri="{FF2B5EF4-FFF2-40B4-BE49-F238E27FC236}">
                  <a16:creationId xmlns:a16="http://schemas.microsoft.com/office/drawing/2014/main" id="{4697BD4E-A983-42DD-B53D-C7CAE6AFFF06}"/>
                </a:ext>
              </a:extLst>
            </p:cNvPr>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a:t>５</a:t>
              </a:r>
              <a:r>
                <a:rPr lang="en-US" altLang="ja-JP" sz="1200"/>
                <a:t>G</a:t>
              </a:r>
              <a:r>
                <a:rPr lang="ja-JP" altLang="en-US" sz="1200"/>
                <a:t>通信環境の提供</a:t>
              </a:r>
              <a:endParaRPr lang="en-US" altLang="ja-JP" sz="1200"/>
            </a:p>
          </p:txBody>
        </p:sp>
        <p:sp>
          <p:nvSpPr>
            <p:cNvPr id="62" name="Rectangle 18">
              <a:extLst>
                <a:ext uri="{FF2B5EF4-FFF2-40B4-BE49-F238E27FC236}">
                  <a16:creationId xmlns:a16="http://schemas.microsoft.com/office/drawing/2014/main" id="{45E9E334-CF9B-4DB1-B978-63EA40C5D0A2}"/>
                </a:ext>
              </a:extLst>
            </p:cNvPr>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a:t>サービス提供に必要な機材・設備の提供</a:t>
              </a:r>
              <a:endParaRPr kumimoji="0" lang="en-US" altLang="ja-JP" sz="1200"/>
            </a:p>
          </p:txBody>
        </p:sp>
        <p:sp>
          <p:nvSpPr>
            <p:cNvPr id="63" name="Rectangle 18">
              <a:extLst>
                <a:ext uri="{FF2B5EF4-FFF2-40B4-BE49-F238E27FC236}">
                  <a16:creationId xmlns:a16="http://schemas.microsoft.com/office/drawing/2014/main" id="{778E8CE3-9215-4974-9C13-7E37652C2EA7}"/>
                </a:ext>
              </a:extLst>
            </p:cNvPr>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a:t>サービス提供における</a:t>
              </a:r>
              <a:r>
                <a:rPr lang="en-US" altLang="ja-JP" sz="1200"/>
                <a:t>UI</a:t>
              </a:r>
              <a:r>
                <a:rPr lang="ja-JP" altLang="en-US" sz="1200"/>
                <a:t>設計・構築</a:t>
              </a:r>
            </a:p>
          </p:txBody>
        </p:sp>
        <p:grpSp>
          <p:nvGrpSpPr>
            <p:cNvPr id="64" name="グループ化 63">
              <a:extLst>
                <a:ext uri="{FF2B5EF4-FFF2-40B4-BE49-F238E27FC236}">
                  <a16:creationId xmlns:a16="http://schemas.microsoft.com/office/drawing/2014/main" id="{83CAA91F-D2AC-4FCA-8D4B-A751B10968CE}"/>
                </a:ext>
              </a:extLst>
            </p:cNvPr>
            <p:cNvGrpSpPr/>
            <p:nvPr/>
          </p:nvGrpSpPr>
          <p:grpSpPr>
            <a:xfrm>
              <a:off x="3582034" y="1855871"/>
              <a:ext cx="1878301" cy="797740"/>
              <a:chOff x="3582034" y="1855871"/>
              <a:chExt cx="1878301" cy="797740"/>
            </a:xfrm>
          </p:grpSpPr>
          <p:sp>
            <p:nvSpPr>
              <p:cNvPr id="66" name="Rectangle 18">
                <a:extLst>
                  <a:ext uri="{FF2B5EF4-FFF2-40B4-BE49-F238E27FC236}">
                    <a16:creationId xmlns:a16="http://schemas.microsoft.com/office/drawing/2014/main" id="{D725A017-A13A-429B-8DA9-E827A46AF90A}"/>
                  </a:ext>
                </a:extLst>
              </p:cNvPr>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a:t>株式会社</a:t>
                </a:r>
                <a:r>
                  <a:rPr lang="en-US" altLang="ja-JP" sz="1200" kern="0">
                    <a:latin typeface="Arial"/>
                  </a:rPr>
                  <a:t>XXXXX</a:t>
                </a:r>
                <a:endParaRPr lang="en-GB" sz="1200" kern="0">
                  <a:latin typeface="Arial"/>
                </a:endParaRPr>
              </a:p>
            </p:txBody>
          </p:sp>
          <p:sp>
            <p:nvSpPr>
              <p:cNvPr id="67" name="Rectangle 15">
                <a:extLst>
                  <a:ext uri="{FF2B5EF4-FFF2-40B4-BE49-F238E27FC236}">
                    <a16:creationId xmlns:a16="http://schemas.microsoft.com/office/drawing/2014/main" id="{A73C8D4F-3453-4145-B76C-E136AC671267}"/>
                  </a:ext>
                </a:extLst>
              </p:cNvPr>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Arial"/>
                  </a:rPr>
                  <a:t>事業実施主体</a:t>
                </a:r>
                <a:endParaRPr kumimoji="0" lang="en-GB" sz="1200" b="1" i="0" u="none" strike="noStrike" kern="0" cap="none" spc="0" normalizeH="0" baseline="0" noProof="0">
                  <a:ln>
                    <a:noFill/>
                  </a:ln>
                  <a:effectLst/>
                  <a:uLnTx/>
                  <a:uFillTx/>
                  <a:latin typeface="Arial"/>
                </a:endParaRPr>
              </a:p>
            </p:txBody>
          </p:sp>
        </p:grpSp>
        <p:sp>
          <p:nvSpPr>
            <p:cNvPr id="65" name="Rectangle 18">
              <a:extLst>
                <a:ext uri="{FF2B5EF4-FFF2-40B4-BE49-F238E27FC236}">
                  <a16:creationId xmlns:a16="http://schemas.microsoft.com/office/drawing/2014/main" id="{96E6FD1E-3D04-4F68-AB7E-89E2B78B3648}"/>
                </a:ext>
              </a:extLst>
            </p:cNvPr>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a:t>事業の全体統括</a:t>
              </a:r>
              <a:endParaRPr lang="en-US" altLang="ja-JP" sz="1200"/>
            </a:p>
            <a:p>
              <a:pPr marL="169863" lvl="1" indent="-168275">
                <a:lnSpc>
                  <a:spcPct val="106000"/>
                </a:lnSpc>
                <a:spcBef>
                  <a:spcPts val="300"/>
                </a:spcBef>
                <a:buClr>
                  <a:schemeClr val="tx1"/>
                </a:buClr>
                <a:buFont typeface="Wingdings" pitchFamily="2" charset="2"/>
                <a:buChar char="n"/>
              </a:pPr>
              <a:r>
                <a:rPr lang="en-US" altLang="ja-JP" sz="1200"/>
                <a:t>5G</a:t>
              </a:r>
              <a:r>
                <a:rPr lang="ja-JP" altLang="en-US" sz="1200"/>
                <a:t>を含む先端技術を</a:t>
              </a:r>
              <a:br>
                <a:rPr lang="en-US" altLang="ja-JP" sz="1200"/>
              </a:br>
              <a:r>
                <a:rPr lang="ja-JP" altLang="en-US" sz="1200"/>
                <a:t>活用したスマート</a:t>
              </a:r>
              <a:br>
                <a:rPr lang="en-US" altLang="ja-JP" sz="1200"/>
              </a:br>
              <a:r>
                <a:rPr lang="ja-JP" altLang="en-US" sz="1200"/>
                <a:t>シティサービスの提供</a:t>
              </a:r>
              <a:endParaRPr lang="en-US" altLang="ja-JP" sz="1200"/>
            </a:p>
          </p:txBody>
        </p:sp>
      </p:grpSp>
    </p:spTree>
    <p:extLst>
      <p:ext uri="{BB962C8B-B14F-4D97-AF65-F5344CB8AC3E}">
        <p14:creationId xmlns:p14="http://schemas.microsoft.com/office/powerpoint/2010/main" val="1018731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920020"/>
            <a:ext cx="12801600" cy="4301114"/>
          </a:xfrm>
          <a:prstGeom prst="rect">
            <a:avLst/>
          </a:prstGeom>
          <a:noFill/>
        </p:spPr>
        <p:txBody>
          <a:bodyPr wrap="square" rtlCol="0">
            <a:spAutoFit/>
          </a:bodyPr>
          <a:lstStyle/>
          <a:p>
            <a:pPr marL="285750" indent="-285750">
              <a:lnSpc>
                <a:spcPts val="2500"/>
              </a:lnSpc>
              <a:spcBef>
                <a:spcPts val="2100"/>
              </a:spcBef>
              <a:buFont typeface="Wingdings" panose="05000000000000000000" pitchFamily="2" charset="2"/>
              <a:buChar char="n"/>
            </a:pPr>
            <a:r>
              <a:rPr kumimoji="1" lang="ja-JP" altLang="en-US" sz="1600"/>
              <a:t>必要に応じて詳細について補足する説明資料を作成提出ください。</a:t>
            </a:r>
            <a:endParaRPr kumimoji="1" lang="en-US" altLang="ja-JP" sz="1600"/>
          </a:p>
          <a:p>
            <a:pPr marL="285750" indent="-285750">
              <a:lnSpc>
                <a:spcPts val="2500"/>
              </a:lnSpc>
              <a:spcBef>
                <a:spcPts val="2100"/>
              </a:spcBef>
              <a:buFont typeface="Wingdings" panose="05000000000000000000" pitchFamily="2" charset="2"/>
              <a:buChar char="n"/>
            </a:pPr>
            <a:r>
              <a:rPr kumimoji="1" lang="ja-JP" altLang="en-US" sz="1600"/>
              <a:t>スライド枚数は変更することなく</a:t>
            </a:r>
            <a:r>
              <a:rPr kumimoji="1" lang="en-US" altLang="ja-JP" sz="1600"/>
              <a:t>3</a:t>
            </a:r>
            <a:r>
              <a:rPr kumimoji="1" lang="ja-JP" altLang="en-US" sz="1600"/>
              <a:t>枚</a:t>
            </a:r>
            <a:r>
              <a:rPr kumimoji="1" lang="en-US" altLang="ja-JP" sz="1600"/>
              <a:t>(</a:t>
            </a:r>
            <a:r>
              <a:rPr kumimoji="1" lang="ja-JP" altLang="en-US" sz="1600"/>
              <a:t>共同提案の場合は</a:t>
            </a:r>
            <a:r>
              <a:rPr kumimoji="1" lang="en-US" altLang="ja-JP" sz="1600"/>
              <a:t>4</a:t>
            </a:r>
            <a:r>
              <a:rPr kumimoji="1" lang="ja-JP" altLang="en-US" sz="1600"/>
              <a:t>枚</a:t>
            </a:r>
            <a:r>
              <a:rPr kumimoji="1" lang="en-US" altLang="ja-JP" sz="1600"/>
              <a:t>)</a:t>
            </a:r>
            <a:r>
              <a:rPr kumimoji="1" lang="ja-JP" altLang="en-US" sz="1600"/>
              <a:t>で作成してください。</a:t>
            </a:r>
            <a:endParaRPr kumimoji="1" lang="en-US" altLang="ja-JP" sz="1600"/>
          </a:p>
          <a:p>
            <a:pPr marL="285750" indent="-285750">
              <a:lnSpc>
                <a:spcPts val="2500"/>
              </a:lnSpc>
              <a:spcBef>
                <a:spcPts val="2100"/>
              </a:spcBef>
              <a:buFont typeface="Wingdings" panose="05000000000000000000" pitchFamily="2" charset="2"/>
              <a:buChar char="n"/>
            </a:pPr>
            <a:r>
              <a:rPr kumimoji="1" lang="ja-JP" altLang="en-US" sz="1600"/>
              <a:t>オブジェクト（記載枠等）の大きさや位置、フォントの種類やサイズは変更いただいても構いませんが、以下に留意してください。</a:t>
            </a:r>
            <a:br>
              <a:rPr kumimoji="1" lang="en-US" altLang="ja-JP" sz="1600"/>
            </a:br>
            <a:r>
              <a:rPr kumimoji="1" lang="en-US" altLang="ja-JP" sz="1600"/>
              <a:t>※</a:t>
            </a:r>
            <a:r>
              <a:rPr kumimoji="1" lang="ja-JP" altLang="en-US" sz="1600"/>
              <a:t>枠内に収まっていないことがないようにすること</a:t>
            </a:r>
            <a:br>
              <a:rPr kumimoji="1" lang="en-US" altLang="ja-JP" sz="1600"/>
            </a:br>
            <a:r>
              <a:rPr kumimoji="1" lang="en-US" altLang="ja-JP" sz="1600"/>
              <a:t>※</a:t>
            </a:r>
            <a:r>
              <a:rPr kumimoji="1" lang="ja-JP" altLang="en-US" sz="1600"/>
              <a:t>フォントサイズは</a:t>
            </a:r>
            <a:r>
              <a:rPr kumimoji="1" lang="en-US" altLang="ja-JP" sz="1600"/>
              <a:t>12pt</a:t>
            </a:r>
            <a:r>
              <a:rPr kumimoji="1" lang="ja-JP" altLang="en-US" sz="1600"/>
              <a:t>以上とすること</a:t>
            </a:r>
          </a:p>
          <a:p>
            <a:pPr marL="285750" indent="-285750">
              <a:lnSpc>
                <a:spcPts val="2500"/>
              </a:lnSpc>
              <a:spcBef>
                <a:spcPts val="2100"/>
              </a:spcBef>
              <a:buFont typeface="Wingdings" panose="05000000000000000000" pitchFamily="2" charset="2"/>
              <a:buChar char="n"/>
            </a:pPr>
            <a:r>
              <a:rPr kumimoji="1" lang="ja-JP" altLang="en-US" sz="1600"/>
              <a:t>テンプレートとして記載している、「各項目において記載いただきたい内容」のテキスト、オブジェクト及び吹き出しは</a:t>
            </a:r>
            <a:br>
              <a:rPr kumimoji="1" lang="en-US" altLang="ja-JP" sz="1600"/>
            </a:br>
            <a:r>
              <a:rPr kumimoji="1" lang="ja-JP" altLang="en-US" sz="1600"/>
              <a:t>削除してください。</a:t>
            </a:r>
            <a:endParaRPr kumimoji="1" lang="en-US" altLang="ja-JP" sz="1600"/>
          </a:p>
          <a:p>
            <a:pPr marL="285750" indent="-285750">
              <a:lnSpc>
                <a:spcPts val="2500"/>
              </a:lnSpc>
              <a:spcBef>
                <a:spcPts val="2100"/>
              </a:spcBef>
              <a:buFont typeface="Wingdings" panose="05000000000000000000" pitchFamily="2" charset="2"/>
              <a:buChar char="n"/>
            </a:pPr>
            <a:r>
              <a:rPr kumimoji="1" lang="ja-JP" altLang="en-US" sz="1600"/>
              <a:t>資料提出時は本ページは削除いただき、電子媒体での資料提出時は</a:t>
            </a:r>
            <a:r>
              <a:rPr kumimoji="1" lang="en-US" altLang="ja-JP" sz="1600"/>
              <a:t>PPT</a:t>
            </a:r>
            <a:r>
              <a:rPr kumimoji="1" lang="ja-JP" altLang="en-US" sz="1600"/>
              <a:t>形式で提出してください。</a:t>
            </a:r>
            <a:endParaRPr kumimoji="1" lang="en-US" altLang="ja-JP" sz="1600"/>
          </a:p>
          <a:p>
            <a:pPr marL="285750" indent="-285750">
              <a:lnSpc>
                <a:spcPts val="2500"/>
              </a:lnSpc>
              <a:spcBef>
                <a:spcPts val="2100"/>
              </a:spcBef>
              <a:buFont typeface="Wingdings" panose="05000000000000000000" pitchFamily="2" charset="2"/>
              <a:buChar char="n"/>
            </a:pPr>
            <a:r>
              <a:rPr kumimoji="1" lang="ja-JP" altLang="en-US" sz="1600"/>
              <a:t>なお、本資料は選定事業を公表する際の資料として用いることがあります。</a:t>
            </a:r>
            <a:endParaRPr kumimoji="1" lang="en-US" altLang="ja-JP" sz="1600"/>
          </a:p>
        </p:txBody>
      </p:sp>
      <p:sp>
        <p:nvSpPr>
          <p:cNvPr id="8" name="正方形/長方形 7">
            <a:extLst>
              <a:ext uri="{FF2B5EF4-FFF2-40B4-BE49-F238E27FC236}">
                <a16:creationId xmlns:a16="http://schemas.microsoft.com/office/drawing/2014/main" id="{DCD60C61-1F5F-436B-BA77-71FDD37DEA7E}"/>
              </a:ext>
            </a:extLst>
          </p:cNvPr>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a:solidFill>
                  <a:schemeClr val="tx1"/>
                </a:solidFill>
              </a:rPr>
              <a:t>活動計画書の記載方法</a:t>
            </a:r>
          </a:p>
        </p:txBody>
      </p:sp>
      <p:cxnSp>
        <p:nvCxnSpPr>
          <p:cNvPr id="9" name="直線コネクタ 8">
            <a:extLst>
              <a:ext uri="{FF2B5EF4-FFF2-40B4-BE49-F238E27FC236}">
                <a16:creationId xmlns:a16="http://schemas.microsoft.com/office/drawing/2014/main" id="{01056D90-BC35-4E44-8C20-2498719D474B}"/>
              </a:ext>
            </a:extLst>
          </p:cNvPr>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126881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mKXGd9msG_3l8BRh6u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14" ma:contentTypeDescription="新しいドキュメントを作成します。" ma:contentTypeScope="" ma:versionID="f084acb3730c488995371685ac3324b6">
  <xsd:schema xmlns:xsd="http://www.w3.org/2001/XMLSchema" xmlns:xs="http://www.w3.org/2001/XMLSchema" xmlns:p="http://schemas.microsoft.com/office/2006/metadata/properties" xmlns:ns2="f83d32f4-ec49-44a5-af86-c22e26b8baae" xmlns:ns3="9fbd1c46-57fc-4e80-8e58-4cd2f8d5d020" targetNamespace="http://schemas.microsoft.com/office/2006/metadata/properties" ma:root="true" ma:fieldsID="19ad9e9d71a04645a77a12a8f1dcb3d4" ns2:_="" ns3:_="">
    <xsd:import namespace="f83d32f4-ec49-44a5-af86-c22e26b8baae"/>
    <xsd:import namespace="9fbd1c46-57fc-4e80-8e58-4cd2f8d5d0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fbd1c46-57fc-4e80-8e58-4cd2f8d5d020"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SharedWithUsers xmlns="9fbd1c46-57fc-4e80-8e58-4cd2f8d5d020">
      <UserInfo>
        <DisplayName>DTC × SEESAW メンバー</DisplayName>
        <AccountId>4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EA1B1C-01A6-4FF4-81DD-EC48D858C0DB}"/>
</file>

<file path=customXml/itemProps2.xml><?xml version="1.0" encoding="utf-8"?>
<ds:datastoreItem xmlns:ds="http://schemas.openxmlformats.org/officeDocument/2006/customXml" ds:itemID="{361BEEA9-ABAB-43D1-884B-292AE78DDB91}">
  <ds:schemaRef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http://purl.org/dc/dcmitype/"/>
    <ds:schemaRef ds:uri="http://purl.org/dc/terms/"/>
    <ds:schemaRef ds:uri="http://schemas.microsoft.com/office/infopath/2007/PartnerControls"/>
    <ds:schemaRef ds:uri="7ec50759-adba-4f94-8f6c-0a9fbcf11939"/>
    <ds:schemaRef ds:uri="http://www.w3.org/XML/1998/namespace"/>
    <ds:schemaRef ds:uri="63c894c7-6532-495f-a4d7-18b81eed9ca7"/>
    <ds:schemaRef ds:uri="4b4507ac-2152-47fd-ae31-da93c9c906e7"/>
    <ds:schemaRef ds:uri="f83d32f4-ec49-44a5-af86-c22e26b8baae"/>
  </ds:schemaRefs>
</ds:datastoreItem>
</file>

<file path=customXml/itemProps3.xml><?xml version="1.0" encoding="utf-8"?>
<ds:datastoreItem xmlns:ds="http://schemas.openxmlformats.org/officeDocument/2006/customXml" ds:itemID="{CDBB78C8-7391-4A38-9218-547C0B3CD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75</TotalTime>
  <Words>758</Words>
  <Application>Microsoft Office PowerPoint</Application>
  <PresentationFormat>A3 297x420 mm</PresentationFormat>
  <Paragraphs>62</Paragraphs>
  <Slides>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1" baseType="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資料</dc:title>
  <dc:subject/>
  <dc:creator/>
  <cp:keywords/>
  <dc:description/>
  <cp:lastModifiedBy>Yamada, Fuyuki</cp:lastModifiedBy>
  <cp:revision>9</cp:revision>
  <dcterms:created xsi:type="dcterms:W3CDTF">2020-04-29T04:54:15Z</dcterms:created>
  <dcterms:modified xsi:type="dcterms:W3CDTF">2024-04-10T03:30:5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C27B1B1ACD88468FD3E37DEC4DB111</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